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4.xml" ContentType="application/vnd.openxmlformats-officedocument.theme+xml"/>
  <Override PartName="/ppt/tags/tag87.xml" ContentType="application/vnd.openxmlformats-officedocument.presentationml.tags+xml"/>
  <Override PartName="/ppt/notesSlides/notesSlide1.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1.xml" ContentType="application/inkml+xml"/>
  <Override PartName="/ppt/notesSlides/notesSlide4.xml" ContentType="application/vnd.openxmlformats-officedocument.presentationml.notesSlide+xml"/>
  <Override PartName="/ppt/tags/tag9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702" r:id="rId5"/>
    <p:sldMasterId id="2147483744" r:id="rId6"/>
  </p:sldMasterIdLst>
  <p:notesMasterIdLst>
    <p:notesMasterId r:id="rId17"/>
  </p:notesMasterIdLst>
  <p:sldIdLst>
    <p:sldId id="368" r:id="rId7"/>
    <p:sldId id="2147474990" r:id="rId8"/>
    <p:sldId id="1363" r:id="rId9"/>
    <p:sldId id="2147475001" r:id="rId10"/>
    <p:sldId id="2147481044" r:id="rId11"/>
    <p:sldId id="2147475000" r:id="rId12"/>
    <p:sldId id="2147481041" r:id="rId13"/>
    <p:sldId id="2147481043" r:id="rId14"/>
    <p:sldId id="2147481042" r:id="rId15"/>
    <p:sldId id="527" r:id="rId1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FFBC02-9822-3E3E-7687-7ED28B6BBC52}" name="Loistl.Felix Dr.-Ing. EE-GE-SG" initials="LDIEGS" userId="S::Loistl.Felix@swm.de::df987057-a74c-4a31-8b60-75a7256f372d" providerId="AD"/>
  <p188:author id="{6B730781-45D2-84DA-B771-0DC2FA7E0023}" name="Ullmann.Patrick SW-KS" initials="USK" userId="S::Ullmann.Patrick@swm.de::b1756100-7199-43d5-b713-d0bfb1ab1870" providerId="AD"/>
  <p188:author id="{63A1A0C0-4A80-8597-1DD1-DBCB232A6C61}" name="Croeniger.Christine EE-GE-SG" initials="CEGS" userId="S::Croeniger.Christine@swm.de::ea136931-55a0-4414-b297-8d7b717ff5a1" providerId="AD"/>
  <p188:author id="{00328ED7-DCCB-6E09-F6C6-C89D788C23F3}" name="Jahrfeld.Thomas EE-GE-SG" initials="JEGS" userId="S::Jahrfeld.Thomas@swm.de::df744612-6080-42e3-8899-7965162cd05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1509"/>
    <a:srgbClr val="23160D"/>
    <a:srgbClr val="75AD40"/>
    <a:srgbClr val="F2F2F2"/>
    <a:srgbClr val="FFFFFF"/>
    <a:srgbClr val="7387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189" autoAdjust="0"/>
  </p:normalViewPr>
  <p:slideViewPr>
    <p:cSldViewPr snapToGrid="0">
      <p:cViewPr varScale="1">
        <p:scale>
          <a:sx n="95" d="100"/>
          <a:sy n="95" d="100"/>
        </p:scale>
        <p:origin x="1074"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8/10/relationships/authors" Target="authors.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ilbeck.Severin GR" userId="783c9c34-624e-4e38-9174-9a6c9116fb94" providerId="ADAL" clId="{EEC56677-7D61-48F5-B473-6CD3FC324432}"/>
    <pc:docChg chg="undo redo custSel addSld delSld modSld sldOrd">
      <pc:chgData name="Zeilbeck.Severin GR" userId="783c9c34-624e-4e38-9174-9a6c9116fb94" providerId="ADAL" clId="{EEC56677-7D61-48F5-B473-6CD3FC324432}" dt="2025-03-19T15:08:28.448" v="1739" actId="20577"/>
      <pc:docMkLst>
        <pc:docMk/>
      </pc:docMkLst>
      <pc:sldChg chg="addSp delSp modSp mod chgLayout">
        <pc:chgData name="Zeilbeck.Severin GR" userId="783c9c34-624e-4e38-9174-9a6c9116fb94" providerId="ADAL" clId="{EEC56677-7D61-48F5-B473-6CD3FC324432}" dt="2025-03-18T13:06:51.419" v="10" actId="478"/>
        <pc:sldMkLst>
          <pc:docMk/>
          <pc:sldMk cId="2149686457" sldId="1363"/>
        </pc:sldMkLst>
        <pc:spChg chg="add del mod ord">
          <ac:chgData name="Zeilbeck.Severin GR" userId="783c9c34-624e-4e38-9174-9a6c9116fb94" providerId="ADAL" clId="{EEC56677-7D61-48F5-B473-6CD3FC324432}" dt="2025-03-18T13:06:51.419" v="10" actId="478"/>
          <ac:spMkLst>
            <pc:docMk/>
            <pc:sldMk cId="2149686457" sldId="1363"/>
            <ac:spMk id="3" creationId="{F57C70B1-5170-925C-DCA1-E9E5DCAE1CDC}"/>
          </ac:spMkLst>
        </pc:spChg>
        <pc:spChg chg="mod ord">
          <ac:chgData name="Zeilbeck.Severin GR" userId="783c9c34-624e-4e38-9174-9a6c9116fb94" providerId="ADAL" clId="{EEC56677-7D61-48F5-B473-6CD3FC324432}" dt="2025-03-18T13:06:48.758" v="9" actId="700"/>
          <ac:spMkLst>
            <pc:docMk/>
            <pc:sldMk cId="2149686457" sldId="1363"/>
            <ac:spMk id="4" creationId="{E257AD6A-2C22-41A5-8783-B644F7A14CC9}"/>
          </ac:spMkLst>
        </pc:spChg>
        <pc:spChg chg="mod ord">
          <ac:chgData name="Zeilbeck.Severin GR" userId="783c9c34-624e-4e38-9174-9a6c9116fb94" providerId="ADAL" clId="{EEC56677-7D61-48F5-B473-6CD3FC324432}" dt="2025-03-18T13:06:48.758" v="9" actId="700"/>
          <ac:spMkLst>
            <pc:docMk/>
            <pc:sldMk cId="2149686457" sldId="1363"/>
            <ac:spMk id="5" creationId="{F0B05093-6EBE-D07F-71B5-1A58F763310B}"/>
          </ac:spMkLst>
        </pc:spChg>
        <pc:spChg chg="mod ord">
          <ac:chgData name="Zeilbeck.Severin GR" userId="783c9c34-624e-4e38-9174-9a6c9116fb94" providerId="ADAL" clId="{EEC56677-7D61-48F5-B473-6CD3FC324432}" dt="2025-03-18T13:06:48.758" v="9" actId="700"/>
          <ac:spMkLst>
            <pc:docMk/>
            <pc:sldMk cId="2149686457" sldId="1363"/>
            <ac:spMk id="12" creationId="{F70E4F32-A3EC-4790-965D-5A29ED03BA78}"/>
          </ac:spMkLst>
        </pc:spChg>
        <pc:picChg chg="mod">
          <ac:chgData name="Zeilbeck.Severin GR" userId="783c9c34-624e-4e38-9174-9a6c9116fb94" providerId="ADAL" clId="{EEC56677-7D61-48F5-B473-6CD3FC324432}" dt="2025-03-18T13:04:47.312" v="4"/>
          <ac:picMkLst>
            <pc:docMk/>
            <pc:sldMk cId="2149686457" sldId="1363"/>
            <ac:picMk id="2" creationId="{9D926FBF-D6D5-4A66-A8CC-8D3F15E93E18}"/>
          </ac:picMkLst>
        </pc:picChg>
      </pc:sldChg>
      <pc:sldChg chg="addSp delSp modSp add del mod modClrScheme chgLayout">
        <pc:chgData name="Zeilbeck.Severin GR" userId="783c9c34-624e-4e38-9174-9a6c9116fb94" providerId="ADAL" clId="{EEC56677-7D61-48F5-B473-6CD3FC324432}" dt="2025-03-19T14:10:44.198" v="542" actId="47"/>
        <pc:sldMkLst>
          <pc:docMk/>
          <pc:sldMk cId="960143865" sldId="1373"/>
        </pc:sldMkLst>
        <pc:spChg chg="del mod ord">
          <ac:chgData name="Zeilbeck.Severin GR" userId="783c9c34-624e-4e38-9174-9a6c9116fb94" providerId="ADAL" clId="{EEC56677-7D61-48F5-B473-6CD3FC324432}" dt="2025-03-18T13:51:23.558" v="481" actId="700"/>
          <ac:spMkLst>
            <pc:docMk/>
            <pc:sldMk cId="960143865" sldId="1373"/>
            <ac:spMk id="2" creationId="{00000000-0000-0000-0000-000000000000}"/>
          </ac:spMkLst>
        </pc:spChg>
        <pc:spChg chg="mod ord">
          <ac:chgData name="Zeilbeck.Severin GR" userId="783c9c34-624e-4e38-9174-9a6c9116fb94" providerId="ADAL" clId="{EEC56677-7D61-48F5-B473-6CD3FC324432}" dt="2025-03-18T13:51:23.558" v="481" actId="700"/>
          <ac:spMkLst>
            <pc:docMk/>
            <pc:sldMk cId="960143865" sldId="1373"/>
            <ac:spMk id="3" creationId="{00000000-0000-0000-0000-000000000000}"/>
          </ac:spMkLst>
        </pc:spChg>
        <pc:spChg chg="add mod ord">
          <ac:chgData name="Zeilbeck.Severin GR" userId="783c9c34-624e-4e38-9174-9a6c9116fb94" providerId="ADAL" clId="{EEC56677-7D61-48F5-B473-6CD3FC324432}" dt="2025-03-18T13:51:29.649" v="483"/>
          <ac:spMkLst>
            <pc:docMk/>
            <pc:sldMk cId="960143865" sldId="1373"/>
            <ac:spMk id="4" creationId="{B4D15B33-1B99-6C0B-2EE6-7B0E51F627F7}"/>
          </ac:spMkLst>
        </pc:spChg>
        <pc:spChg chg="add del mod ord">
          <ac:chgData name="Zeilbeck.Severin GR" userId="783c9c34-624e-4e38-9174-9a6c9116fb94" providerId="ADAL" clId="{EEC56677-7D61-48F5-B473-6CD3FC324432}" dt="2025-03-18T13:51:28.419" v="482" actId="478"/>
          <ac:spMkLst>
            <pc:docMk/>
            <pc:sldMk cId="960143865" sldId="1373"/>
            <ac:spMk id="5" creationId="{BD9FDFAD-B127-DA12-15BB-355080337023}"/>
          </ac:spMkLst>
        </pc:spChg>
        <pc:spChg chg="mod">
          <ac:chgData name="Zeilbeck.Severin GR" userId="783c9c34-624e-4e38-9174-9a6c9116fb94" providerId="ADAL" clId="{EEC56677-7D61-48F5-B473-6CD3FC324432}" dt="2025-03-18T13:53:18.861" v="539" actId="1076"/>
          <ac:spMkLst>
            <pc:docMk/>
            <pc:sldMk cId="960143865" sldId="1373"/>
            <ac:spMk id="7" creationId="{3791A2A7-6642-6CD2-BD1E-C5441C34ABF8}"/>
          </ac:spMkLst>
        </pc:spChg>
        <pc:spChg chg="mod ord">
          <ac:chgData name="Zeilbeck.Severin GR" userId="783c9c34-624e-4e38-9174-9a6c9116fb94" providerId="ADAL" clId="{EEC56677-7D61-48F5-B473-6CD3FC324432}" dt="2025-03-18T13:51:23.558" v="481" actId="700"/>
          <ac:spMkLst>
            <pc:docMk/>
            <pc:sldMk cId="960143865" sldId="1373"/>
            <ac:spMk id="9" creationId="{1D360D17-DDBE-4104-A107-FF41BA839FC3}"/>
          </ac:spMkLst>
        </pc:spChg>
        <pc:picChg chg="mod">
          <ac:chgData name="Zeilbeck.Severin GR" userId="783c9c34-624e-4e38-9174-9a6c9116fb94" providerId="ADAL" clId="{EEC56677-7D61-48F5-B473-6CD3FC324432}" dt="2025-03-18T13:53:15.099" v="538" actId="1076"/>
          <ac:picMkLst>
            <pc:docMk/>
            <pc:sldMk cId="960143865" sldId="1373"/>
            <ac:picMk id="13" creationId="{1C0D0A16-93C1-0891-A60A-223FA1265EA7}"/>
          </ac:picMkLst>
        </pc:picChg>
      </pc:sldChg>
      <pc:sldChg chg="addSp delSp modSp mod modClrScheme chgLayout">
        <pc:chgData name="Zeilbeck.Severin GR" userId="783c9c34-624e-4e38-9174-9a6c9116fb94" providerId="ADAL" clId="{EEC56677-7D61-48F5-B473-6CD3FC324432}" dt="2025-03-18T13:50:59.199" v="479" actId="478"/>
        <pc:sldMkLst>
          <pc:docMk/>
          <pc:sldMk cId="1927194489" sldId="2147475000"/>
        </pc:sldMkLst>
        <pc:spChg chg="mod">
          <ac:chgData name="Zeilbeck.Severin GR" userId="783c9c34-624e-4e38-9174-9a6c9116fb94" providerId="ADAL" clId="{EEC56677-7D61-48F5-B473-6CD3FC324432}" dt="2025-03-18T13:50:45.699" v="477" actId="790"/>
          <ac:spMkLst>
            <pc:docMk/>
            <pc:sldMk cId="1927194489" sldId="2147475000"/>
            <ac:spMk id="2" creationId="{B813AF4A-4DC7-B2C2-7EAD-9A96195E92B9}"/>
          </ac:spMkLst>
        </pc:spChg>
        <pc:spChg chg="del mod">
          <ac:chgData name="Zeilbeck.Severin GR" userId="783c9c34-624e-4e38-9174-9a6c9116fb94" providerId="ADAL" clId="{EEC56677-7D61-48F5-B473-6CD3FC324432}" dt="2025-03-18T13:24:18.834" v="150" actId="478"/>
          <ac:spMkLst>
            <pc:docMk/>
            <pc:sldMk cId="1927194489" sldId="2147475000"/>
            <ac:spMk id="3" creationId="{E1D460F7-E4EB-7DCB-6837-46A44A2B603F}"/>
          </ac:spMkLst>
        </pc:spChg>
        <pc:spChg chg="add mod ord">
          <ac:chgData name="Zeilbeck.Severin GR" userId="783c9c34-624e-4e38-9174-9a6c9116fb94" providerId="ADAL" clId="{EEC56677-7D61-48F5-B473-6CD3FC324432}" dt="2025-03-18T13:24:37.312" v="158" actId="700"/>
          <ac:spMkLst>
            <pc:docMk/>
            <pc:sldMk cId="1927194489" sldId="2147475000"/>
            <ac:spMk id="4" creationId="{0A874131-4671-1CD4-4FE3-753FD666A066}"/>
          </ac:spMkLst>
        </pc:spChg>
        <pc:spChg chg="mod ord">
          <ac:chgData name="Zeilbeck.Severin GR" userId="783c9c34-624e-4e38-9174-9a6c9116fb94" providerId="ADAL" clId="{EEC56677-7D61-48F5-B473-6CD3FC324432}" dt="2025-03-18T13:24:37.312" v="158" actId="700"/>
          <ac:spMkLst>
            <pc:docMk/>
            <pc:sldMk cId="1927194489" sldId="2147475000"/>
            <ac:spMk id="5" creationId="{3DA2D8CB-E0C6-9FE1-E6A7-983E0F744F34}"/>
          </ac:spMkLst>
        </pc:spChg>
        <pc:spChg chg="add del mod ord">
          <ac:chgData name="Zeilbeck.Severin GR" userId="783c9c34-624e-4e38-9174-9a6c9116fb94" providerId="ADAL" clId="{EEC56677-7D61-48F5-B473-6CD3FC324432}" dt="2025-03-18T13:24:29.559" v="155" actId="478"/>
          <ac:spMkLst>
            <pc:docMk/>
            <pc:sldMk cId="1927194489" sldId="2147475000"/>
            <ac:spMk id="6" creationId="{16D753BF-0E27-7F25-0816-CB0EC803B1C8}"/>
          </ac:spMkLst>
        </pc:spChg>
        <pc:spChg chg="add del mod ord">
          <ac:chgData name="Zeilbeck.Severin GR" userId="783c9c34-624e-4e38-9174-9a6c9116fb94" providerId="ADAL" clId="{EEC56677-7D61-48F5-B473-6CD3FC324432}" dt="2025-03-18T13:24:37.312" v="158" actId="700"/>
          <ac:spMkLst>
            <pc:docMk/>
            <pc:sldMk cId="1927194489" sldId="2147475000"/>
            <ac:spMk id="7" creationId="{CB5F53B6-A360-61A3-0323-6C1CACF42BC3}"/>
          </ac:spMkLst>
        </pc:spChg>
        <pc:spChg chg="del mod">
          <ac:chgData name="Zeilbeck.Severin GR" userId="783c9c34-624e-4e38-9174-9a6c9116fb94" providerId="ADAL" clId="{EEC56677-7D61-48F5-B473-6CD3FC324432}" dt="2025-03-18T13:40:14.815" v="358"/>
          <ac:spMkLst>
            <pc:docMk/>
            <pc:sldMk cId="1927194489" sldId="2147475000"/>
            <ac:spMk id="8" creationId="{95757636-ABC3-9951-5456-F56806435A33}"/>
          </ac:spMkLst>
        </pc:spChg>
        <pc:spChg chg="mod">
          <ac:chgData name="Zeilbeck.Severin GR" userId="783c9c34-624e-4e38-9174-9a6c9116fb94" providerId="ADAL" clId="{EEC56677-7D61-48F5-B473-6CD3FC324432}" dt="2025-03-18T13:50:53.538" v="478" actId="1076"/>
          <ac:spMkLst>
            <pc:docMk/>
            <pc:sldMk cId="1927194489" sldId="2147475000"/>
            <ac:spMk id="10" creationId="{686D433A-5B11-4EE3-39DD-5082CA9432AF}"/>
          </ac:spMkLst>
        </pc:spChg>
        <pc:spChg chg="add mod ord">
          <ac:chgData name="Zeilbeck.Severin GR" userId="783c9c34-624e-4e38-9174-9a6c9116fb94" providerId="ADAL" clId="{EEC56677-7D61-48F5-B473-6CD3FC324432}" dt="2025-03-18T13:24:39.533" v="160" actId="20577"/>
          <ac:spMkLst>
            <pc:docMk/>
            <pc:sldMk cId="1927194489" sldId="2147475000"/>
            <ac:spMk id="12" creationId="{4C11E106-1861-B7F2-BA62-5AFC231138D8}"/>
          </ac:spMkLst>
        </pc:spChg>
        <pc:spChg chg="del mod">
          <ac:chgData name="Zeilbeck.Severin GR" userId="783c9c34-624e-4e38-9174-9a6c9116fb94" providerId="ADAL" clId="{EEC56677-7D61-48F5-B473-6CD3FC324432}" dt="2025-03-18T13:24:35.240" v="157" actId="478"/>
          <ac:spMkLst>
            <pc:docMk/>
            <pc:sldMk cId="1927194489" sldId="2147475000"/>
            <ac:spMk id="13" creationId="{5B925C5E-9F6A-4D89-EA5D-2BC83DE4154F}"/>
          </ac:spMkLst>
        </pc:spChg>
        <pc:spChg chg="add mod ord">
          <ac:chgData name="Zeilbeck.Severin GR" userId="783c9c34-624e-4e38-9174-9a6c9116fb94" providerId="ADAL" clId="{EEC56677-7D61-48F5-B473-6CD3FC324432}" dt="2025-03-18T13:48:37.354" v="443" actId="14100"/>
          <ac:spMkLst>
            <pc:docMk/>
            <pc:sldMk cId="1927194489" sldId="2147475000"/>
            <ac:spMk id="15" creationId="{679F740B-7497-CF53-7750-1A4D809B33ED}"/>
          </ac:spMkLst>
        </pc:spChg>
        <pc:spChg chg="add del mod">
          <ac:chgData name="Zeilbeck.Severin GR" userId="783c9c34-624e-4e38-9174-9a6c9116fb94" providerId="ADAL" clId="{EEC56677-7D61-48F5-B473-6CD3FC324432}" dt="2025-03-18T13:50:59.199" v="479" actId="478"/>
          <ac:spMkLst>
            <pc:docMk/>
            <pc:sldMk cId="1927194489" sldId="2147475000"/>
            <ac:spMk id="30" creationId="{8CF0F7AE-5196-99DE-B1F9-A5360FD090CE}"/>
          </ac:spMkLst>
        </pc:spChg>
        <pc:grpChg chg="mod">
          <ac:chgData name="Zeilbeck.Severin GR" userId="783c9c34-624e-4e38-9174-9a6c9116fb94" providerId="ADAL" clId="{EEC56677-7D61-48F5-B473-6CD3FC324432}" dt="2025-03-18T13:50:05.472" v="465" actId="14100"/>
          <ac:grpSpMkLst>
            <pc:docMk/>
            <pc:sldMk cId="1927194489" sldId="2147475000"/>
            <ac:grpSpMk id="21" creationId="{AEC31BDE-51F1-4733-DA1C-9AF6BE53B780}"/>
          </ac:grpSpMkLst>
        </pc:grpChg>
        <pc:cxnChg chg="mod">
          <ac:chgData name="Zeilbeck.Severin GR" userId="783c9c34-624e-4e38-9174-9a6c9116fb94" providerId="ADAL" clId="{EEC56677-7D61-48F5-B473-6CD3FC324432}" dt="2025-03-18T13:49:36.090" v="458" actId="1076"/>
          <ac:cxnSpMkLst>
            <pc:docMk/>
            <pc:sldMk cId="1927194489" sldId="2147475000"/>
            <ac:cxnSpMk id="14" creationId="{6BE9F86A-020F-06CC-B80B-EE9AB9FC4BD8}"/>
          </ac:cxnSpMkLst>
        </pc:cxnChg>
        <pc:cxnChg chg="mod">
          <ac:chgData name="Zeilbeck.Severin GR" userId="783c9c34-624e-4e38-9174-9a6c9116fb94" providerId="ADAL" clId="{EEC56677-7D61-48F5-B473-6CD3FC324432}" dt="2025-03-18T13:50:26.371" v="476" actId="1582"/>
          <ac:cxnSpMkLst>
            <pc:docMk/>
            <pc:sldMk cId="1927194489" sldId="2147475000"/>
            <ac:cxnSpMk id="31" creationId="{B6237D72-6105-24AA-A405-BFD2BB28F3AF}"/>
          </ac:cxnSpMkLst>
        </pc:cxnChg>
      </pc:sldChg>
      <pc:sldChg chg="addSp delSp modSp mod modClrScheme chgLayout">
        <pc:chgData name="Zeilbeck.Severin GR" userId="783c9c34-624e-4e38-9174-9a6c9116fb94" providerId="ADAL" clId="{EEC56677-7D61-48F5-B473-6CD3FC324432}" dt="2025-03-19T15:04:37.283" v="1683" actId="1037"/>
        <pc:sldMkLst>
          <pc:docMk/>
          <pc:sldMk cId="1291535941" sldId="2147475001"/>
        </pc:sldMkLst>
        <pc:spChg chg="mod ord">
          <ac:chgData name="Zeilbeck.Severin GR" userId="783c9c34-624e-4e38-9174-9a6c9116fb94" providerId="ADAL" clId="{EEC56677-7D61-48F5-B473-6CD3FC324432}" dt="2025-03-18T13:23:33.431" v="142" actId="700"/>
          <ac:spMkLst>
            <pc:docMk/>
            <pc:sldMk cId="1291535941" sldId="2147475001"/>
            <ac:spMk id="2" creationId="{79451E76-C792-429D-B076-9E7A27FC6E02}"/>
          </ac:spMkLst>
        </pc:spChg>
        <pc:spChg chg="ord">
          <ac:chgData name="Zeilbeck.Severin GR" userId="783c9c34-624e-4e38-9174-9a6c9116fb94" providerId="ADAL" clId="{EEC56677-7D61-48F5-B473-6CD3FC324432}" dt="2025-03-18T13:19:56.945" v="122" actId="13244"/>
          <ac:spMkLst>
            <pc:docMk/>
            <pc:sldMk cId="1291535941" sldId="2147475001"/>
            <ac:spMk id="3" creationId="{2BCCB38A-D89D-3C4B-04D6-88F16D66547F}"/>
          </ac:spMkLst>
        </pc:spChg>
        <pc:spChg chg="add mod ord">
          <ac:chgData name="Zeilbeck.Severin GR" userId="783c9c34-624e-4e38-9174-9a6c9116fb94" providerId="ADAL" clId="{EEC56677-7D61-48F5-B473-6CD3FC324432}" dt="2025-03-18T13:23:33.431" v="142" actId="700"/>
          <ac:spMkLst>
            <pc:docMk/>
            <pc:sldMk cId="1291535941" sldId="2147475001"/>
            <ac:spMk id="4" creationId="{6EA64D46-5D96-1773-609C-CBD10A5C89EC}"/>
          </ac:spMkLst>
        </pc:spChg>
        <pc:spChg chg="add del mod ord">
          <ac:chgData name="Zeilbeck.Severin GR" userId="783c9c34-624e-4e38-9174-9a6c9116fb94" providerId="ADAL" clId="{EEC56677-7D61-48F5-B473-6CD3FC324432}" dt="2025-03-18T13:23:59.398" v="148" actId="166"/>
          <ac:spMkLst>
            <pc:docMk/>
            <pc:sldMk cId="1291535941" sldId="2147475001"/>
            <ac:spMk id="6" creationId="{FC6F27A1-836F-4BE3-CF07-3EE66AD62AAA}"/>
          </ac:spMkLst>
        </pc:spChg>
        <pc:spChg chg="add del mod ord">
          <ac:chgData name="Zeilbeck.Severin GR" userId="783c9c34-624e-4e38-9174-9a6c9116fb94" providerId="ADAL" clId="{EEC56677-7D61-48F5-B473-6CD3FC324432}" dt="2025-03-18T13:22:35.232" v="134" actId="478"/>
          <ac:spMkLst>
            <pc:docMk/>
            <pc:sldMk cId="1291535941" sldId="2147475001"/>
            <ac:spMk id="7" creationId="{E525F8EE-56B0-D633-2AEA-3C3BEA4E3AF3}"/>
          </ac:spMkLst>
        </pc:spChg>
        <pc:spChg chg="mod ord">
          <ac:chgData name="Zeilbeck.Severin GR" userId="783c9c34-624e-4e38-9174-9a6c9116fb94" providerId="ADAL" clId="{EEC56677-7D61-48F5-B473-6CD3FC324432}" dt="2025-03-18T13:46:40.203" v="418" actId="14100"/>
          <ac:spMkLst>
            <pc:docMk/>
            <pc:sldMk cId="1291535941" sldId="2147475001"/>
            <ac:spMk id="8" creationId="{AAF63E2F-B66F-BA6F-9574-2C15DC2E4DF0}"/>
          </ac:spMkLst>
        </pc:spChg>
        <pc:spChg chg="mod ord">
          <ac:chgData name="Zeilbeck.Severin GR" userId="783c9c34-624e-4e38-9174-9a6c9116fb94" providerId="ADAL" clId="{EEC56677-7D61-48F5-B473-6CD3FC324432}" dt="2025-03-18T13:46:32.148" v="411"/>
          <ac:spMkLst>
            <pc:docMk/>
            <pc:sldMk cId="1291535941" sldId="2147475001"/>
            <ac:spMk id="9" creationId="{0C97BBF8-5A74-3D0E-CFD3-15E7126180BE}"/>
          </ac:spMkLst>
        </pc:spChg>
        <pc:spChg chg="mod ord">
          <ac:chgData name="Zeilbeck.Severin GR" userId="783c9c34-624e-4e38-9174-9a6c9116fb94" providerId="ADAL" clId="{EEC56677-7D61-48F5-B473-6CD3FC324432}" dt="2025-03-19T14:57:53.264" v="1629" actId="14100"/>
          <ac:spMkLst>
            <pc:docMk/>
            <pc:sldMk cId="1291535941" sldId="2147475001"/>
            <ac:spMk id="10" creationId="{F819B32C-CFAF-58FE-A228-FF1749BE9EFA}"/>
          </ac:spMkLst>
        </pc:spChg>
        <pc:spChg chg="mod ord">
          <ac:chgData name="Zeilbeck.Severin GR" userId="783c9c34-624e-4e38-9174-9a6c9116fb94" providerId="ADAL" clId="{EEC56677-7D61-48F5-B473-6CD3FC324432}" dt="2025-03-18T13:46:32.148" v="411"/>
          <ac:spMkLst>
            <pc:docMk/>
            <pc:sldMk cId="1291535941" sldId="2147475001"/>
            <ac:spMk id="11" creationId="{7C092778-0518-F3CF-F963-0780D77CD42B}"/>
          </ac:spMkLst>
        </pc:spChg>
        <pc:spChg chg="add del">
          <ac:chgData name="Zeilbeck.Severin GR" userId="783c9c34-624e-4e38-9174-9a6c9116fb94" providerId="ADAL" clId="{EEC56677-7D61-48F5-B473-6CD3FC324432}" dt="2025-03-19T14:49:39.226" v="1305" actId="22"/>
          <ac:spMkLst>
            <pc:docMk/>
            <pc:sldMk cId="1291535941" sldId="2147475001"/>
            <ac:spMk id="12" creationId="{360DC0EE-C236-83D1-1A14-11BF3F980F6D}"/>
          </ac:spMkLst>
        </pc:spChg>
        <pc:spChg chg="add del mod">
          <ac:chgData name="Zeilbeck.Severin GR" userId="783c9c34-624e-4e38-9174-9a6c9116fb94" providerId="ADAL" clId="{EEC56677-7D61-48F5-B473-6CD3FC324432}" dt="2025-03-19T14:53:11.627" v="1381" actId="478"/>
          <ac:spMkLst>
            <pc:docMk/>
            <pc:sldMk cId="1291535941" sldId="2147475001"/>
            <ac:spMk id="13" creationId="{8A691045-421D-45D1-D49A-2A01ECB168BF}"/>
          </ac:spMkLst>
        </pc:spChg>
        <pc:spChg chg="add del mod">
          <ac:chgData name="Zeilbeck.Severin GR" userId="783c9c34-624e-4e38-9174-9a6c9116fb94" providerId="ADAL" clId="{EEC56677-7D61-48F5-B473-6CD3FC324432}" dt="2025-03-19T14:53:13.667" v="1383" actId="478"/>
          <ac:spMkLst>
            <pc:docMk/>
            <pc:sldMk cId="1291535941" sldId="2147475001"/>
            <ac:spMk id="14" creationId="{EA56439E-8106-16AF-5F94-EA61EE789979}"/>
          </ac:spMkLst>
        </pc:spChg>
        <pc:spChg chg="add del mod">
          <ac:chgData name="Zeilbeck.Severin GR" userId="783c9c34-624e-4e38-9174-9a6c9116fb94" providerId="ADAL" clId="{EEC56677-7D61-48F5-B473-6CD3FC324432}" dt="2025-03-19T14:53:17.003" v="1386" actId="478"/>
          <ac:spMkLst>
            <pc:docMk/>
            <pc:sldMk cId="1291535941" sldId="2147475001"/>
            <ac:spMk id="15" creationId="{1842CE34-59F3-B768-15E9-78A4BA03BD26}"/>
          </ac:spMkLst>
        </pc:spChg>
        <pc:spChg chg="del mod">
          <ac:chgData name="Zeilbeck.Severin GR" userId="783c9c34-624e-4e38-9174-9a6c9116fb94" providerId="ADAL" clId="{EEC56677-7D61-48F5-B473-6CD3FC324432}" dt="2025-03-18T13:07:15.730" v="18" actId="478"/>
          <ac:spMkLst>
            <pc:docMk/>
            <pc:sldMk cId="1291535941" sldId="2147475001"/>
            <ac:spMk id="15" creationId="{FE117A8E-CE7F-9F77-D4BF-9EA9FBBB31A9}"/>
          </ac:spMkLst>
        </pc:spChg>
        <pc:spChg chg="mod topLvl">
          <ac:chgData name="Zeilbeck.Severin GR" userId="783c9c34-624e-4e38-9174-9a6c9116fb94" providerId="ADAL" clId="{EEC56677-7D61-48F5-B473-6CD3FC324432}" dt="2025-03-19T15:04:37.283" v="1683" actId="1037"/>
          <ac:spMkLst>
            <pc:docMk/>
            <pc:sldMk cId="1291535941" sldId="2147475001"/>
            <ac:spMk id="16" creationId="{A6A34401-37CE-94D7-F232-E7AFBFFF3791}"/>
          </ac:spMkLst>
        </pc:spChg>
        <pc:spChg chg="mod topLvl">
          <ac:chgData name="Zeilbeck.Severin GR" userId="783c9c34-624e-4e38-9174-9a6c9116fb94" providerId="ADAL" clId="{EEC56677-7D61-48F5-B473-6CD3FC324432}" dt="2025-03-19T14:55:16.428" v="1538" actId="14100"/>
          <ac:spMkLst>
            <pc:docMk/>
            <pc:sldMk cId="1291535941" sldId="2147475001"/>
            <ac:spMk id="17" creationId="{71306880-9336-C9A5-C3C3-2275F40983BA}"/>
          </ac:spMkLst>
        </pc:spChg>
        <pc:spChg chg="add del mod">
          <ac:chgData name="Zeilbeck.Severin GR" userId="783c9c34-624e-4e38-9174-9a6c9116fb94" providerId="ADAL" clId="{EEC56677-7D61-48F5-B473-6CD3FC324432}" dt="2025-03-19T14:53:19.939" v="1388" actId="478"/>
          <ac:spMkLst>
            <pc:docMk/>
            <pc:sldMk cId="1291535941" sldId="2147475001"/>
            <ac:spMk id="19" creationId="{43247BBE-012E-B743-B1B0-1380989B0E8D}"/>
          </ac:spMkLst>
        </pc:spChg>
        <pc:spChg chg="mod">
          <ac:chgData name="Zeilbeck.Severin GR" userId="783c9c34-624e-4e38-9174-9a6c9116fb94" providerId="ADAL" clId="{EEC56677-7D61-48F5-B473-6CD3FC324432}" dt="2025-03-18T13:09:14.503" v="27" actId="165"/>
          <ac:spMkLst>
            <pc:docMk/>
            <pc:sldMk cId="1291535941" sldId="2147475001"/>
            <ac:spMk id="19" creationId="{DE7DCAB9-8971-C311-2D4A-69429E1FB52C}"/>
          </ac:spMkLst>
        </pc:spChg>
        <pc:spChg chg="mod topLvl">
          <ac:chgData name="Zeilbeck.Severin GR" userId="783c9c34-624e-4e38-9174-9a6c9116fb94" providerId="ADAL" clId="{EEC56677-7D61-48F5-B473-6CD3FC324432}" dt="2025-03-19T15:04:31.053" v="1682" actId="1037"/>
          <ac:spMkLst>
            <pc:docMk/>
            <pc:sldMk cId="1291535941" sldId="2147475001"/>
            <ac:spMk id="21" creationId="{D3574F5A-AD7F-3B3B-F33A-04980EB1538D}"/>
          </ac:spMkLst>
        </pc:spChg>
        <pc:spChg chg="mod topLvl">
          <ac:chgData name="Zeilbeck.Severin GR" userId="783c9c34-624e-4e38-9174-9a6c9116fb94" providerId="ADAL" clId="{EEC56677-7D61-48F5-B473-6CD3FC324432}" dt="2025-03-19T14:56:05.670" v="1546" actId="1038"/>
          <ac:spMkLst>
            <pc:docMk/>
            <pc:sldMk cId="1291535941" sldId="2147475001"/>
            <ac:spMk id="22" creationId="{76A3004A-DC0D-DB18-C244-7B07F28F75B2}"/>
          </ac:spMkLst>
        </pc:spChg>
        <pc:spChg chg="mod topLvl">
          <ac:chgData name="Zeilbeck.Severin GR" userId="783c9c34-624e-4e38-9174-9a6c9116fb94" providerId="ADAL" clId="{EEC56677-7D61-48F5-B473-6CD3FC324432}" dt="2025-03-19T14:56:31.320" v="1568" actId="1036"/>
          <ac:spMkLst>
            <pc:docMk/>
            <pc:sldMk cId="1291535941" sldId="2147475001"/>
            <ac:spMk id="23" creationId="{0B5F2F15-A28E-BCBE-DAE7-126F396C40D3}"/>
          </ac:spMkLst>
        </pc:spChg>
        <pc:spChg chg="del mod">
          <ac:chgData name="Zeilbeck.Severin GR" userId="783c9c34-624e-4e38-9174-9a6c9116fb94" providerId="ADAL" clId="{EEC56677-7D61-48F5-B473-6CD3FC324432}" dt="2025-03-18T13:21:28.157" v="124" actId="478"/>
          <ac:spMkLst>
            <pc:docMk/>
            <pc:sldMk cId="1291535941" sldId="2147475001"/>
            <ac:spMk id="24" creationId="{043B401B-AB63-E094-7110-FC4B985BD958}"/>
          </ac:spMkLst>
        </pc:spChg>
        <pc:spChg chg="add del mod">
          <ac:chgData name="Zeilbeck.Severin GR" userId="783c9c34-624e-4e38-9174-9a6c9116fb94" providerId="ADAL" clId="{EEC56677-7D61-48F5-B473-6CD3FC324432}" dt="2025-03-19T14:53:07.294" v="1380" actId="478"/>
          <ac:spMkLst>
            <pc:docMk/>
            <pc:sldMk cId="1291535941" sldId="2147475001"/>
            <ac:spMk id="24" creationId="{2EB7242D-B152-9FA3-81C0-2A8781A3129F}"/>
          </ac:spMkLst>
        </pc:spChg>
        <pc:spChg chg="mod topLvl">
          <ac:chgData name="Zeilbeck.Severin GR" userId="783c9c34-624e-4e38-9174-9a6c9116fb94" providerId="ADAL" clId="{EEC56677-7D61-48F5-B473-6CD3FC324432}" dt="2025-03-19T14:57:32.542" v="1621" actId="1038"/>
          <ac:spMkLst>
            <pc:docMk/>
            <pc:sldMk cId="1291535941" sldId="2147475001"/>
            <ac:spMk id="25" creationId="{D8EAEC0D-C10E-045D-734F-5017ECECE84F}"/>
          </ac:spMkLst>
        </pc:spChg>
        <pc:spChg chg="mod topLvl">
          <ac:chgData name="Zeilbeck.Severin GR" userId="783c9c34-624e-4e38-9174-9a6c9116fb94" providerId="ADAL" clId="{EEC56677-7D61-48F5-B473-6CD3FC324432}" dt="2025-03-19T14:57:48.620" v="1628" actId="1038"/>
          <ac:spMkLst>
            <pc:docMk/>
            <pc:sldMk cId="1291535941" sldId="2147475001"/>
            <ac:spMk id="26" creationId="{0F23DE37-8EE8-6903-3001-7EA7FB451974}"/>
          </ac:spMkLst>
        </pc:spChg>
        <pc:spChg chg="add del mod">
          <ac:chgData name="Zeilbeck.Severin GR" userId="783c9c34-624e-4e38-9174-9a6c9116fb94" providerId="ADAL" clId="{EEC56677-7D61-48F5-B473-6CD3FC324432}" dt="2025-03-19T14:53:15.040" v="1384" actId="478"/>
          <ac:spMkLst>
            <pc:docMk/>
            <pc:sldMk cId="1291535941" sldId="2147475001"/>
            <ac:spMk id="27" creationId="{45310C10-FBA6-51C4-550B-B0AC4F999255}"/>
          </ac:spMkLst>
        </pc:spChg>
        <pc:spChg chg="add del mod topLvl">
          <ac:chgData name="Zeilbeck.Severin GR" userId="783c9c34-624e-4e38-9174-9a6c9116fb94" providerId="ADAL" clId="{EEC56677-7D61-48F5-B473-6CD3FC324432}" dt="2025-03-19T14:54:45.560" v="1491" actId="478"/>
          <ac:spMkLst>
            <pc:docMk/>
            <pc:sldMk cId="1291535941" sldId="2147475001"/>
            <ac:spMk id="29" creationId="{281CC90B-9E68-3703-61E7-241CF4422CC8}"/>
          </ac:spMkLst>
        </pc:spChg>
        <pc:spChg chg="add del mod topLvl">
          <ac:chgData name="Zeilbeck.Severin GR" userId="783c9c34-624e-4e38-9174-9a6c9116fb94" providerId="ADAL" clId="{EEC56677-7D61-48F5-B473-6CD3FC324432}" dt="2025-03-19T14:54:44.003" v="1490" actId="478"/>
          <ac:spMkLst>
            <pc:docMk/>
            <pc:sldMk cId="1291535941" sldId="2147475001"/>
            <ac:spMk id="30" creationId="{C4A658A7-AA13-D4DB-7240-8FC86E5BF3E8}"/>
          </ac:spMkLst>
        </pc:spChg>
        <pc:spChg chg="add mod ord">
          <ac:chgData name="Zeilbeck.Severin GR" userId="783c9c34-624e-4e38-9174-9a6c9116fb94" providerId="ADAL" clId="{EEC56677-7D61-48F5-B473-6CD3FC324432}" dt="2025-03-18T13:26:16.181" v="292" actId="20577"/>
          <ac:spMkLst>
            <pc:docMk/>
            <pc:sldMk cId="1291535941" sldId="2147475001"/>
            <ac:spMk id="416" creationId="{97B2E588-38DC-3956-9831-A7B368CEAC1D}"/>
          </ac:spMkLst>
        </pc:spChg>
        <pc:spChg chg="del">
          <ac:chgData name="Zeilbeck.Severin GR" userId="783c9c34-624e-4e38-9174-9a6c9116fb94" providerId="ADAL" clId="{EEC56677-7D61-48F5-B473-6CD3FC324432}" dt="2025-03-18T13:10:47.940" v="48" actId="478"/>
          <ac:spMkLst>
            <pc:docMk/>
            <pc:sldMk cId="1291535941" sldId="2147475001"/>
            <ac:spMk id="417" creationId="{92501B06-66D2-4C0D-9E24-0CA9787D5358}"/>
          </ac:spMkLst>
        </pc:spChg>
        <pc:spChg chg="add del mod">
          <ac:chgData name="Zeilbeck.Severin GR" userId="783c9c34-624e-4e38-9174-9a6c9116fb94" providerId="ADAL" clId="{EEC56677-7D61-48F5-B473-6CD3FC324432}" dt="2025-03-19T14:53:18.338" v="1387" actId="478"/>
          <ac:spMkLst>
            <pc:docMk/>
            <pc:sldMk cId="1291535941" sldId="2147475001"/>
            <ac:spMk id="417" creationId="{E5D8FFBD-AB64-07A2-D1D2-234159343405}"/>
          </ac:spMkLst>
        </pc:spChg>
        <pc:spChg chg="add mod">
          <ac:chgData name="Zeilbeck.Severin GR" userId="783c9c34-624e-4e38-9174-9a6c9116fb94" providerId="ADAL" clId="{EEC56677-7D61-48F5-B473-6CD3FC324432}" dt="2025-03-19T14:53:35.269" v="1390" actId="164"/>
          <ac:spMkLst>
            <pc:docMk/>
            <pc:sldMk cId="1291535941" sldId="2147475001"/>
            <ac:spMk id="418" creationId="{C33980E3-5EDB-D5BB-D951-2CBA102A415E}"/>
          </ac:spMkLst>
        </pc:spChg>
        <pc:spChg chg="add del mod">
          <ac:chgData name="Zeilbeck.Severin GR" userId="783c9c34-624e-4e38-9174-9a6c9116fb94" providerId="ADAL" clId="{EEC56677-7D61-48F5-B473-6CD3FC324432}" dt="2025-03-18T13:23:52.854" v="147" actId="478"/>
          <ac:spMkLst>
            <pc:docMk/>
            <pc:sldMk cId="1291535941" sldId="2147475001"/>
            <ac:spMk id="419" creationId="{B513BCB4-060C-9314-3465-9EAE049F4A25}"/>
          </ac:spMkLst>
        </pc:spChg>
        <pc:spChg chg="add del mod">
          <ac:chgData name="Zeilbeck.Severin GR" userId="783c9c34-624e-4e38-9174-9a6c9116fb94" providerId="ADAL" clId="{EEC56677-7D61-48F5-B473-6CD3FC324432}" dt="2025-03-18T13:44:55.115" v="372" actId="478"/>
          <ac:spMkLst>
            <pc:docMk/>
            <pc:sldMk cId="1291535941" sldId="2147475001"/>
            <ac:spMk id="421" creationId="{8252EC14-3289-681B-94F5-E85A7236DD19}"/>
          </ac:spMkLst>
        </pc:spChg>
        <pc:spChg chg="add mod">
          <ac:chgData name="Zeilbeck.Severin GR" userId="783c9c34-624e-4e38-9174-9a6c9116fb94" providerId="ADAL" clId="{EEC56677-7D61-48F5-B473-6CD3FC324432}" dt="2025-03-18T13:47:41.643" v="428" actId="164"/>
          <ac:spMkLst>
            <pc:docMk/>
            <pc:sldMk cId="1291535941" sldId="2147475001"/>
            <ac:spMk id="423" creationId="{E19CAF5F-6B82-00F5-F52C-A6EC3304100B}"/>
          </ac:spMkLst>
        </pc:spChg>
        <pc:spChg chg="mod">
          <ac:chgData name="Zeilbeck.Severin GR" userId="783c9c34-624e-4e38-9174-9a6c9116fb94" providerId="ADAL" clId="{EEC56677-7D61-48F5-B473-6CD3FC324432}" dt="2025-03-19T14:53:21.003" v="1389"/>
          <ac:spMkLst>
            <pc:docMk/>
            <pc:sldMk cId="1291535941" sldId="2147475001"/>
            <ac:spMk id="425" creationId="{E2C996DF-0968-7B01-03D5-3473230AA11A}"/>
          </ac:spMkLst>
        </pc:spChg>
        <pc:spChg chg="add mod">
          <ac:chgData name="Zeilbeck.Severin GR" userId="783c9c34-624e-4e38-9174-9a6c9116fb94" providerId="ADAL" clId="{EEC56677-7D61-48F5-B473-6CD3FC324432}" dt="2025-03-19T14:53:35.269" v="1390" actId="164"/>
          <ac:spMkLst>
            <pc:docMk/>
            <pc:sldMk cId="1291535941" sldId="2147475001"/>
            <ac:spMk id="426" creationId="{981CC62C-4DD0-EDAA-E707-02AB6E37018A}"/>
          </ac:spMkLst>
        </pc:spChg>
        <pc:spChg chg="add mod">
          <ac:chgData name="Zeilbeck.Severin GR" userId="783c9c34-624e-4e38-9174-9a6c9116fb94" providerId="ADAL" clId="{EEC56677-7D61-48F5-B473-6CD3FC324432}" dt="2025-03-19T14:53:35.269" v="1390" actId="164"/>
          <ac:spMkLst>
            <pc:docMk/>
            <pc:sldMk cId="1291535941" sldId="2147475001"/>
            <ac:spMk id="427" creationId="{8117965E-F8CC-7FEA-4A8D-08BC76AD8BE9}"/>
          </ac:spMkLst>
        </pc:spChg>
        <pc:spChg chg="add mod">
          <ac:chgData name="Zeilbeck.Severin GR" userId="783c9c34-624e-4e38-9174-9a6c9116fb94" providerId="ADAL" clId="{EEC56677-7D61-48F5-B473-6CD3FC324432}" dt="2025-03-19T14:56:40.596" v="1569" actId="1076"/>
          <ac:spMkLst>
            <pc:docMk/>
            <pc:sldMk cId="1291535941" sldId="2147475001"/>
            <ac:spMk id="428" creationId="{93880C70-8333-CB1E-B5F4-A8D81A638E76}"/>
          </ac:spMkLst>
        </pc:spChg>
        <pc:spChg chg="add mod">
          <ac:chgData name="Zeilbeck.Severin GR" userId="783c9c34-624e-4e38-9174-9a6c9116fb94" providerId="ADAL" clId="{EEC56677-7D61-48F5-B473-6CD3FC324432}" dt="2025-03-19T14:53:35.269" v="1390" actId="164"/>
          <ac:spMkLst>
            <pc:docMk/>
            <pc:sldMk cId="1291535941" sldId="2147475001"/>
            <ac:spMk id="429" creationId="{D2E4DC2D-D571-6E80-0E55-0529024CB2F9}"/>
          </ac:spMkLst>
        </pc:spChg>
        <pc:spChg chg="add mod">
          <ac:chgData name="Zeilbeck.Severin GR" userId="783c9c34-624e-4e38-9174-9a6c9116fb94" providerId="ADAL" clId="{EEC56677-7D61-48F5-B473-6CD3FC324432}" dt="2025-03-19T14:53:35.269" v="1390" actId="164"/>
          <ac:spMkLst>
            <pc:docMk/>
            <pc:sldMk cId="1291535941" sldId="2147475001"/>
            <ac:spMk id="431" creationId="{4A7F9A34-934D-50AC-08AB-5F78053DCF0C}"/>
          </ac:spMkLst>
        </pc:spChg>
        <pc:spChg chg="add mod">
          <ac:chgData name="Zeilbeck.Severin GR" userId="783c9c34-624e-4e38-9174-9a6c9116fb94" providerId="ADAL" clId="{EEC56677-7D61-48F5-B473-6CD3FC324432}" dt="2025-03-19T14:53:35.269" v="1390" actId="164"/>
          <ac:spMkLst>
            <pc:docMk/>
            <pc:sldMk cId="1291535941" sldId="2147475001"/>
            <ac:spMk id="432" creationId="{561C2ACA-5CC8-0618-3ADA-9138D98C53A4}"/>
          </ac:spMkLst>
        </pc:spChg>
        <pc:spChg chg="add mod">
          <ac:chgData name="Zeilbeck.Severin GR" userId="783c9c34-624e-4e38-9174-9a6c9116fb94" providerId="ADAL" clId="{EEC56677-7D61-48F5-B473-6CD3FC324432}" dt="2025-03-19T14:53:35.269" v="1390" actId="164"/>
          <ac:spMkLst>
            <pc:docMk/>
            <pc:sldMk cId="1291535941" sldId="2147475001"/>
            <ac:spMk id="433" creationId="{821E60FB-7297-85AD-A9A7-E706222B9ABC}"/>
          </ac:spMkLst>
        </pc:spChg>
        <pc:grpChg chg="add del mod">
          <ac:chgData name="Zeilbeck.Severin GR" userId="783c9c34-624e-4e38-9174-9a6c9116fb94" providerId="ADAL" clId="{EEC56677-7D61-48F5-B473-6CD3FC324432}" dt="2025-03-18T13:09:14.503" v="27" actId="165"/>
          <ac:grpSpMkLst>
            <pc:docMk/>
            <pc:sldMk cId="1291535941" sldId="2147475001"/>
            <ac:grpSpMk id="14" creationId="{26971B3F-ADBC-FEA2-33F5-ACA84996D677}"/>
          </ac:grpSpMkLst>
        </pc:grpChg>
        <pc:grpChg chg="del mod topLvl">
          <ac:chgData name="Zeilbeck.Severin GR" userId="783c9c34-624e-4e38-9174-9a6c9116fb94" providerId="ADAL" clId="{EEC56677-7D61-48F5-B473-6CD3FC324432}" dt="2025-03-18T13:09:18.891" v="28" actId="478"/>
          <ac:grpSpMkLst>
            <pc:docMk/>
            <pc:sldMk cId="1291535941" sldId="2147475001"/>
            <ac:grpSpMk id="20" creationId="{44BD431C-DED7-E9D3-7259-CBB3888B5C4A}"/>
          </ac:grpSpMkLst>
        </pc:grpChg>
        <pc:grpChg chg="add del mod">
          <ac:chgData name="Zeilbeck.Severin GR" userId="783c9c34-624e-4e38-9174-9a6c9116fb94" providerId="ADAL" clId="{EEC56677-7D61-48F5-B473-6CD3FC324432}" dt="2025-03-19T14:53:03.408" v="1378" actId="165"/>
          <ac:grpSpMkLst>
            <pc:docMk/>
            <pc:sldMk cId="1291535941" sldId="2147475001"/>
            <ac:grpSpMk id="31" creationId="{E540EDC1-66C6-FAD3-CC67-B3371851DCBF}"/>
          </ac:grpSpMkLst>
        </pc:grpChg>
        <pc:grpChg chg="add mod">
          <ac:chgData name="Zeilbeck.Severin GR" userId="783c9c34-624e-4e38-9174-9a6c9116fb94" providerId="ADAL" clId="{EEC56677-7D61-48F5-B473-6CD3FC324432}" dt="2025-03-19T14:53:35.269" v="1390" actId="164"/>
          <ac:grpSpMkLst>
            <pc:docMk/>
            <pc:sldMk cId="1291535941" sldId="2147475001"/>
            <ac:grpSpMk id="419" creationId="{BFD8C11D-915D-15E6-9DE6-8770574AD1AB}"/>
          </ac:grpSpMkLst>
        </pc:grpChg>
        <pc:grpChg chg="add mod">
          <ac:chgData name="Zeilbeck.Severin GR" userId="783c9c34-624e-4e38-9174-9a6c9116fb94" providerId="ADAL" clId="{EEC56677-7D61-48F5-B473-6CD3FC324432}" dt="2025-03-18T13:46:45.136" v="419" actId="164"/>
          <ac:grpSpMkLst>
            <pc:docMk/>
            <pc:sldMk cId="1291535941" sldId="2147475001"/>
            <ac:grpSpMk id="420" creationId="{BEB8E55B-24FB-02B7-F074-E24A3EE65CB1}"/>
          </ac:grpSpMkLst>
        </pc:grpChg>
        <pc:grpChg chg="add mod">
          <ac:chgData name="Zeilbeck.Severin GR" userId="783c9c34-624e-4e38-9174-9a6c9116fb94" providerId="ADAL" clId="{EEC56677-7D61-48F5-B473-6CD3FC324432}" dt="2025-03-18T13:47:41.643" v="428" actId="164"/>
          <ac:grpSpMkLst>
            <pc:docMk/>
            <pc:sldMk cId="1291535941" sldId="2147475001"/>
            <ac:grpSpMk id="422" creationId="{A815903C-6A4B-3363-BC53-E64A226847BC}"/>
          </ac:grpSpMkLst>
        </pc:grpChg>
        <pc:grpChg chg="add mod">
          <ac:chgData name="Zeilbeck.Severin GR" userId="783c9c34-624e-4e38-9174-9a6c9116fb94" providerId="ADAL" clId="{EEC56677-7D61-48F5-B473-6CD3FC324432}" dt="2025-03-19T14:57:58.952" v="1630" actId="1076"/>
          <ac:grpSpMkLst>
            <pc:docMk/>
            <pc:sldMk cId="1291535941" sldId="2147475001"/>
            <ac:grpSpMk id="424" creationId="{C877127A-C0D3-2AC8-5A60-8F89E9A1EB93}"/>
          </ac:grpSpMkLst>
        </pc:grpChg>
        <pc:grpChg chg="add mod ord">
          <ac:chgData name="Zeilbeck.Severin GR" userId="783c9c34-624e-4e38-9174-9a6c9116fb94" providerId="ADAL" clId="{EEC56677-7D61-48F5-B473-6CD3FC324432}" dt="2025-03-19T14:53:38.636" v="1391" actId="167"/>
          <ac:grpSpMkLst>
            <pc:docMk/>
            <pc:sldMk cId="1291535941" sldId="2147475001"/>
            <ac:grpSpMk id="434" creationId="{164514EE-8938-8591-460C-0B964CE802C7}"/>
          </ac:grpSpMkLst>
        </pc:grpChg>
        <pc:graphicFrameChg chg="del mod ord modVis">
          <ac:chgData name="Zeilbeck.Severin GR" userId="783c9c34-624e-4e38-9174-9a6c9116fb94" providerId="ADAL" clId="{EEC56677-7D61-48F5-B473-6CD3FC324432}" dt="2025-03-18T13:21:45.464" v="129" actId="478"/>
          <ac:graphicFrameMkLst>
            <pc:docMk/>
            <pc:sldMk cId="1291535941" sldId="2147475001"/>
            <ac:graphicFrameMk id="12" creationId="{CDC6E35D-A927-4D3E-B235-8DB2F74F64BA}"/>
          </ac:graphicFrameMkLst>
        </pc:graphicFrameChg>
        <pc:picChg chg="mod">
          <ac:chgData name="Zeilbeck.Severin GR" userId="783c9c34-624e-4e38-9174-9a6c9116fb94" providerId="ADAL" clId="{EEC56677-7D61-48F5-B473-6CD3FC324432}" dt="2025-03-18T13:09:14.503" v="27" actId="165"/>
          <ac:picMkLst>
            <pc:docMk/>
            <pc:sldMk cId="1291535941" sldId="2147475001"/>
            <ac:picMk id="13" creationId="{750AF790-F8C8-C00F-FAF7-5385FEA01D1C}"/>
          </ac:picMkLst>
        </pc:picChg>
        <pc:picChg chg="mod ord modCrop">
          <ac:chgData name="Zeilbeck.Severin GR" userId="783c9c34-624e-4e38-9174-9a6c9116fb94" providerId="ADAL" clId="{EEC56677-7D61-48F5-B473-6CD3FC324432}" dt="2025-03-18T13:46:45.136" v="419" actId="164"/>
          <ac:picMkLst>
            <pc:docMk/>
            <pc:sldMk cId="1291535941" sldId="2147475001"/>
            <ac:picMk id="18" creationId="{83D12D2D-E708-EFD1-D02D-31AB4418D1D2}"/>
          </ac:picMkLst>
        </pc:picChg>
        <pc:picChg chg="add del mod ord topLvl modVis modCrop">
          <ac:chgData name="Zeilbeck.Severin GR" userId="783c9c34-624e-4e38-9174-9a6c9116fb94" providerId="ADAL" clId="{EEC56677-7D61-48F5-B473-6CD3FC324432}" dt="2025-03-19T14:53:05.632" v="1379" actId="478"/>
          <ac:picMkLst>
            <pc:docMk/>
            <pc:sldMk cId="1291535941" sldId="2147475001"/>
            <ac:picMk id="28" creationId="{B8160DD3-9FB1-52C2-16A9-7CDA5B16C65A}"/>
          </ac:picMkLst>
        </pc:picChg>
        <pc:picChg chg="mod">
          <ac:chgData name="Zeilbeck.Severin GR" userId="783c9c34-624e-4e38-9174-9a6c9116fb94" providerId="ADAL" clId="{EEC56677-7D61-48F5-B473-6CD3FC324432}" dt="2025-03-19T14:53:21.003" v="1389"/>
          <ac:picMkLst>
            <pc:docMk/>
            <pc:sldMk cId="1291535941" sldId="2147475001"/>
            <ac:picMk id="421" creationId="{59E3FD1B-4471-28AB-52F4-A7F90E561092}"/>
          </ac:picMkLst>
        </pc:picChg>
        <pc:inkChg chg="add del mod">
          <ac:chgData name="Zeilbeck.Severin GR" userId="783c9c34-624e-4e38-9174-9a6c9116fb94" providerId="ADAL" clId="{EEC56677-7D61-48F5-B473-6CD3FC324432}" dt="2025-03-19T14:52:57.712" v="1375" actId="478"/>
          <ac:inkMkLst>
            <pc:docMk/>
            <pc:sldMk cId="1291535941" sldId="2147475001"/>
            <ac:inkMk id="20" creationId="{A9914761-386B-C205-F880-F9A749D9DD63}"/>
          </ac:inkMkLst>
        </pc:inkChg>
        <pc:inkChg chg="add mod">
          <ac:chgData name="Zeilbeck.Severin GR" userId="783c9c34-624e-4e38-9174-9a6c9116fb94" providerId="ADAL" clId="{EEC56677-7D61-48F5-B473-6CD3FC324432}" dt="2025-03-19T14:53:35.269" v="1390" actId="164"/>
          <ac:inkMkLst>
            <pc:docMk/>
            <pc:sldMk cId="1291535941" sldId="2147475001"/>
            <ac:inkMk id="430" creationId="{8207F4F8-A96B-70AA-D223-2990736B37D6}"/>
          </ac:inkMkLst>
        </pc:inkChg>
      </pc:sldChg>
      <pc:sldChg chg="addSp delSp modSp mod chgLayout">
        <pc:chgData name="Zeilbeck.Severin GR" userId="783c9c34-624e-4e38-9174-9a6c9116fb94" providerId="ADAL" clId="{EEC56677-7D61-48F5-B473-6CD3FC324432}" dt="2025-03-18T13:52:37.986" v="523" actId="14100"/>
        <pc:sldMkLst>
          <pc:docMk/>
          <pc:sldMk cId="2489326948" sldId="2147481041"/>
        </pc:sldMkLst>
        <pc:spChg chg="mod ord">
          <ac:chgData name="Zeilbeck.Severin GR" userId="783c9c34-624e-4e38-9174-9a6c9116fb94" providerId="ADAL" clId="{EEC56677-7D61-48F5-B473-6CD3FC324432}" dt="2025-03-18T13:51:40.453" v="486" actId="700"/>
          <ac:spMkLst>
            <pc:docMk/>
            <pc:sldMk cId="2489326948" sldId="2147481041"/>
            <ac:spMk id="2" creationId="{AEC3E391-67A9-8A58-BC8D-866A0B45163C}"/>
          </ac:spMkLst>
        </pc:spChg>
        <pc:spChg chg="mod ord">
          <ac:chgData name="Zeilbeck.Severin GR" userId="783c9c34-624e-4e38-9174-9a6c9116fb94" providerId="ADAL" clId="{EEC56677-7D61-48F5-B473-6CD3FC324432}" dt="2025-03-18T13:52:37.986" v="523" actId="14100"/>
          <ac:spMkLst>
            <pc:docMk/>
            <pc:sldMk cId="2489326948" sldId="2147481041"/>
            <ac:spMk id="3" creationId="{0E15D304-36C2-AF8C-830A-0DBDD7C479C7}"/>
          </ac:spMkLst>
        </pc:spChg>
        <pc:spChg chg="del mod">
          <ac:chgData name="Zeilbeck.Severin GR" userId="783c9c34-624e-4e38-9174-9a6c9116fb94" providerId="ADAL" clId="{EEC56677-7D61-48F5-B473-6CD3FC324432}" dt="2025-03-18T13:51:36.497" v="485" actId="478"/>
          <ac:spMkLst>
            <pc:docMk/>
            <pc:sldMk cId="2489326948" sldId="2147481041"/>
            <ac:spMk id="4" creationId="{D23629A1-8EE3-FD82-1AFB-05FF99896833}"/>
          </ac:spMkLst>
        </pc:spChg>
        <pc:spChg chg="mod">
          <ac:chgData name="Zeilbeck.Severin GR" userId="783c9c34-624e-4e38-9174-9a6c9116fb94" providerId="ADAL" clId="{EEC56677-7D61-48F5-B473-6CD3FC324432}" dt="2025-03-18T13:52:28.760" v="522" actId="1076"/>
          <ac:spMkLst>
            <pc:docMk/>
            <pc:sldMk cId="2489326948" sldId="2147481041"/>
            <ac:spMk id="6" creationId="{12FDA855-73E2-5BE8-46BB-EA072A852FC6}"/>
          </ac:spMkLst>
        </pc:spChg>
        <pc:spChg chg="add mod ord">
          <ac:chgData name="Zeilbeck.Severin GR" userId="783c9c34-624e-4e38-9174-9a6c9116fb94" providerId="ADAL" clId="{EEC56677-7D61-48F5-B473-6CD3FC324432}" dt="2025-03-18T13:51:42.382" v="487"/>
          <ac:spMkLst>
            <pc:docMk/>
            <pc:sldMk cId="2489326948" sldId="2147481041"/>
            <ac:spMk id="7" creationId="{7458D77A-CBF5-ECAF-FD85-4633DC9C4472}"/>
          </ac:spMkLst>
        </pc:spChg>
        <pc:spChg chg="mod ord">
          <ac:chgData name="Zeilbeck.Severin GR" userId="783c9c34-624e-4e38-9174-9a6c9116fb94" providerId="ADAL" clId="{EEC56677-7D61-48F5-B473-6CD3FC324432}" dt="2025-03-18T13:51:40.453" v="486" actId="700"/>
          <ac:spMkLst>
            <pc:docMk/>
            <pc:sldMk cId="2489326948" sldId="2147481041"/>
            <ac:spMk id="11" creationId="{7A2908EF-2659-2C37-2F76-5A1D9C76674C}"/>
          </ac:spMkLst>
        </pc:spChg>
        <pc:graphicFrameChg chg="mod ord modGraphic">
          <ac:chgData name="Zeilbeck.Severin GR" userId="783c9c34-624e-4e38-9174-9a6c9116fb94" providerId="ADAL" clId="{EEC56677-7D61-48F5-B473-6CD3FC324432}" dt="2025-03-18T13:52:21.931" v="521" actId="14100"/>
          <ac:graphicFrameMkLst>
            <pc:docMk/>
            <pc:sldMk cId="2489326948" sldId="2147481041"/>
            <ac:graphicFrameMk id="5" creationId="{AB0F7723-5E4D-2FB4-4B1A-4F71D5A3DECF}"/>
          </ac:graphicFrameMkLst>
        </pc:graphicFrameChg>
      </pc:sldChg>
      <pc:sldChg chg="addSp delSp modSp new mod ord">
        <pc:chgData name="Zeilbeck.Severin GR" userId="783c9c34-624e-4e38-9174-9a6c9116fb94" providerId="ADAL" clId="{EEC56677-7D61-48F5-B473-6CD3FC324432}" dt="2025-03-19T15:08:28.448" v="1739" actId="20577"/>
        <pc:sldMkLst>
          <pc:docMk/>
          <pc:sldMk cId="608796034" sldId="2147481042"/>
        </pc:sldMkLst>
        <pc:spChg chg="mod">
          <ac:chgData name="Zeilbeck.Severin GR" userId="783c9c34-624e-4e38-9174-9a6c9116fb94" providerId="ADAL" clId="{EEC56677-7D61-48F5-B473-6CD3FC324432}" dt="2025-03-19T14:12:54.435" v="545" actId="20577"/>
          <ac:spMkLst>
            <pc:docMk/>
            <pc:sldMk cId="608796034" sldId="2147481042"/>
            <ac:spMk id="2" creationId="{5EBD0EC4-8C64-726C-D3E1-FFB54D26A20B}"/>
          </ac:spMkLst>
        </pc:spChg>
        <pc:spChg chg="mod">
          <ac:chgData name="Zeilbeck.Severin GR" userId="783c9c34-624e-4e38-9174-9a6c9116fb94" providerId="ADAL" clId="{EEC56677-7D61-48F5-B473-6CD3FC324432}" dt="2025-03-19T14:36:16.592" v="1079"/>
          <ac:spMkLst>
            <pc:docMk/>
            <pc:sldMk cId="608796034" sldId="2147481042"/>
            <ac:spMk id="3" creationId="{577256D1-CD8B-36B3-4E29-BFA9797B0589}"/>
          </ac:spMkLst>
        </pc:spChg>
        <pc:spChg chg="mod">
          <ac:chgData name="Zeilbeck.Severin GR" userId="783c9c34-624e-4e38-9174-9a6c9116fb94" providerId="ADAL" clId="{EEC56677-7D61-48F5-B473-6CD3FC324432}" dt="2025-03-19T15:08:28.448" v="1739" actId="20577"/>
          <ac:spMkLst>
            <pc:docMk/>
            <pc:sldMk cId="608796034" sldId="2147481042"/>
            <ac:spMk id="4" creationId="{1BE65CC3-2107-2BC4-EC67-4C97D533284F}"/>
          </ac:spMkLst>
        </pc:spChg>
        <pc:spChg chg="del mod">
          <ac:chgData name="Zeilbeck.Severin GR" userId="783c9c34-624e-4e38-9174-9a6c9116fb94" providerId="ADAL" clId="{EEC56677-7D61-48F5-B473-6CD3FC324432}" dt="2025-03-19T14:16:13.926" v="595" actId="478"/>
          <ac:spMkLst>
            <pc:docMk/>
            <pc:sldMk cId="608796034" sldId="2147481042"/>
            <ac:spMk id="5" creationId="{F5E15641-2A39-FB34-732C-9A37F2EB136F}"/>
          </ac:spMkLst>
        </pc:spChg>
        <pc:spChg chg="del mod">
          <ac:chgData name="Zeilbeck.Severin GR" userId="783c9c34-624e-4e38-9174-9a6c9116fb94" providerId="ADAL" clId="{EEC56677-7D61-48F5-B473-6CD3FC324432}" dt="2025-03-19T14:16:08.287" v="592" actId="478"/>
          <ac:spMkLst>
            <pc:docMk/>
            <pc:sldMk cId="608796034" sldId="2147481042"/>
            <ac:spMk id="6" creationId="{9907A699-647D-61CE-0B0D-73054F89AAFF}"/>
          </ac:spMkLst>
        </pc:spChg>
        <pc:spChg chg="mod">
          <ac:chgData name="Zeilbeck.Severin GR" userId="783c9c34-624e-4e38-9174-9a6c9116fb94" providerId="ADAL" clId="{EEC56677-7D61-48F5-B473-6CD3FC324432}" dt="2025-03-19T14:39:13.947" v="1171" actId="20577"/>
          <ac:spMkLst>
            <pc:docMk/>
            <pc:sldMk cId="608796034" sldId="2147481042"/>
            <ac:spMk id="10" creationId="{180D982B-0885-9484-6DB9-3F4830DD9006}"/>
          </ac:spMkLst>
        </pc:spChg>
        <pc:spChg chg="mod">
          <ac:chgData name="Zeilbeck.Severin GR" userId="783c9c34-624e-4e38-9174-9a6c9116fb94" providerId="ADAL" clId="{EEC56677-7D61-48F5-B473-6CD3FC324432}" dt="2025-03-19T14:39:04.612" v="1144" actId="20577"/>
          <ac:spMkLst>
            <pc:docMk/>
            <pc:sldMk cId="608796034" sldId="2147481042"/>
            <ac:spMk id="11" creationId="{B89A71EC-8EEB-5765-D91C-AE3C4F6ED9D4}"/>
          </ac:spMkLst>
        </pc:spChg>
        <pc:spChg chg="add mod">
          <ac:chgData name="Zeilbeck.Severin GR" userId="783c9c34-624e-4e38-9174-9a6c9116fb94" providerId="ADAL" clId="{EEC56677-7D61-48F5-B473-6CD3FC324432}" dt="2025-03-19T14:16:09" v="593"/>
          <ac:spMkLst>
            <pc:docMk/>
            <pc:sldMk cId="608796034" sldId="2147481042"/>
            <ac:spMk id="12" creationId="{A6FE91A2-BD3F-6E4A-BAF9-CB994DD80C4F}"/>
          </ac:spMkLst>
        </pc:spChg>
        <pc:spChg chg="add mod">
          <ac:chgData name="Zeilbeck.Severin GR" userId="783c9c34-624e-4e38-9174-9a6c9116fb94" providerId="ADAL" clId="{EEC56677-7D61-48F5-B473-6CD3FC324432}" dt="2025-03-19T14:16:14.953" v="596"/>
          <ac:spMkLst>
            <pc:docMk/>
            <pc:sldMk cId="608796034" sldId="2147481042"/>
            <ac:spMk id="13" creationId="{50ABEBDE-82DE-961A-8EEF-3D120F66A852}"/>
          </ac:spMkLst>
        </pc:spChg>
        <pc:spChg chg="add mod">
          <ac:chgData name="Zeilbeck.Severin GR" userId="783c9c34-624e-4e38-9174-9a6c9116fb94" providerId="ADAL" clId="{EEC56677-7D61-48F5-B473-6CD3FC324432}" dt="2025-03-19T14:16:31.918" v="597"/>
          <ac:spMkLst>
            <pc:docMk/>
            <pc:sldMk cId="608796034" sldId="2147481042"/>
            <ac:spMk id="14" creationId="{C5485267-B938-461A-3751-F970A4FB4114}"/>
          </ac:spMkLst>
        </pc:spChg>
        <pc:spChg chg="add mod">
          <ac:chgData name="Zeilbeck.Severin GR" userId="783c9c34-624e-4e38-9174-9a6c9116fb94" providerId="ADAL" clId="{EEC56677-7D61-48F5-B473-6CD3FC324432}" dt="2025-03-19T14:34:43.582" v="1025" actId="164"/>
          <ac:spMkLst>
            <pc:docMk/>
            <pc:sldMk cId="608796034" sldId="2147481042"/>
            <ac:spMk id="16" creationId="{232B400B-EB27-AAA4-F971-C0DDC5AC121C}"/>
          </ac:spMkLst>
        </pc:spChg>
        <pc:spChg chg="add mod">
          <ac:chgData name="Zeilbeck.Severin GR" userId="783c9c34-624e-4e38-9174-9a6c9116fb94" providerId="ADAL" clId="{EEC56677-7D61-48F5-B473-6CD3FC324432}" dt="2025-03-19T14:34:43.582" v="1025" actId="164"/>
          <ac:spMkLst>
            <pc:docMk/>
            <pc:sldMk cId="608796034" sldId="2147481042"/>
            <ac:spMk id="17" creationId="{1F3FB057-AFD2-4E9A-DBEC-6708FA09787D}"/>
          </ac:spMkLst>
        </pc:spChg>
        <pc:spChg chg="add mod">
          <ac:chgData name="Zeilbeck.Severin GR" userId="783c9c34-624e-4e38-9174-9a6c9116fb94" providerId="ADAL" clId="{EEC56677-7D61-48F5-B473-6CD3FC324432}" dt="2025-03-19T14:34:43.582" v="1025" actId="164"/>
          <ac:spMkLst>
            <pc:docMk/>
            <pc:sldMk cId="608796034" sldId="2147481042"/>
            <ac:spMk id="18" creationId="{FDB26EBE-80AD-7CA4-ED93-8694847DD20D}"/>
          </ac:spMkLst>
        </pc:spChg>
        <pc:spChg chg="add mod">
          <ac:chgData name="Zeilbeck.Severin GR" userId="783c9c34-624e-4e38-9174-9a6c9116fb94" providerId="ADAL" clId="{EEC56677-7D61-48F5-B473-6CD3FC324432}" dt="2025-03-19T14:34:43.582" v="1025" actId="164"/>
          <ac:spMkLst>
            <pc:docMk/>
            <pc:sldMk cId="608796034" sldId="2147481042"/>
            <ac:spMk id="19" creationId="{72917764-A135-EDD8-CF59-47E3083DE602}"/>
          </ac:spMkLst>
        </pc:spChg>
        <pc:spChg chg="add mod">
          <ac:chgData name="Zeilbeck.Severin GR" userId="783c9c34-624e-4e38-9174-9a6c9116fb94" providerId="ADAL" clId="{EEC56677-7D61-48F5-B473-6CD3FC324432}" dt="2025-03-19T14:34:43.582" v="1025" actId="164"/>
          <ac:spMkLst>
            <pc:docMk/>
            <pc:sldMk cId="608796034" sldId="2147481042"/>
            <ac:spMk id="20" creationId="{E5A59533-44DD-EFC4-A56E-E0552483ABF2}"/>
          </ac:spMkLst>
        </pc:spChg>
        <pc:spChg chg="add mod">
          <ac:chgData name="Zeilbeck.Severin GR" userId="783c9c34-624e-4e38-9174-9a6c9116fb94" providerId="ADAL" clId="{EEC56677-7D61-48F5-B473-6CD3FC324432}" dt="2025-03-19T14:34:43.582" v="1025" actId="164"/>
          <ac:spMkLst>
            <pc:docMk/>
            <pc:sldMk cId="608796034" sldId="2147481042"/>
            <ac:spMk id="21" creationId="{7A1CE8A6-CC05-E2B5-E578-87AB741FEAAE}"/>
          </ac:spMkLst>
        </pc:spChg>
        <pc:spChg chg="add mod">
          <ac:chgData name="Zeilbeck.Severin GR" userId="783c9c34-624e-4e38-9174-9a6c9116fb94" providerId="ADAL" clId="{EEC56677-7D61-48F5-B473-6CD3FC324432}" dt="2025-03-19T14:38:50.049" v="1143" actId="20577"/>
          <ac:spMkLst>
            <pc:docMk/>
            <pc:sldMk cId="608796034" sldId="2147481042"/>
            <ac:spMk id="22" creationId="{467C70D6-A3F8-6AB2-CD33-A92C08990237}"/>
          </ac:spMkLst>
        </pc:spChg>
        <pc:grpChg chg="add mod">
          <ac:chgData name="Zeilbeck.Severin GR" userId="783c9c34-624e-4e38-9174-9a6c9116fb94" providerId="ADAL" clId="{EEC56677-7D61-48F5-B473-6CD3FC324432}" dt="2025-03-19T14:21:10.107" v="757" actId="1036"/>
          <ac:grpSpMkLst>
            <pc:docMk/>
            <pc:sldMk cId="608796034" sldId="2147481042"/>
            <ac:grpSpMk id="7" creationId="{DCF309D7-2C53-BFB6-FCD9-5B0C8B05F2DD}"/>
          </ac:grpSpMkLst>
        </pc:grpChg>
        <pc:grpChg chg="add mod">
          <ac:chgData name="Zeilbeck.Severin GR" userId="783c9c34-624e-4e38-9174-9a6c9116fb94" providerId="ADAL" clId="{EEC56677-7D61-48F5-B473-6CD3FC324432}" dt="2025-03-19T14:34:43.582" v="1025" actId="164"/>
          <ac:grpSpMkLst>
            <pc:docMk/>
            <pc:sldMk cId="608796034" sldId="2147481042"/>
            <ac:grpSpMk id="23" creationId="{5801A691-9F4E-82CB-325B-0FE712276290}"/>
          </ac:grpSpMkLst>
        </pc:grpChg>
        <pc:picChg chg="mod">
          <ac:chgData name="Zeilbeck.Severin GR" userId="783c9c34-624e-4e38-9174-9a6c9116fb94" providerId="ADAL" clId="{EEC56677-7D61-48F5-B473-6CD3FC324432}" dt="2025-03-19T14:15:38.272" v="566"/>
          <ac:picMkLst>
            <pc:docMk/>
            <pc:sldMk cId="608796034" sldId="2147481042"/>
            <ac:picMk id="8" creationId="{05FB6C47-990C-1D2D-BEBC-E0FB1F396794}"/>
          </ac:picMkLst>
        </pc:picChg>
        <pc:picChg chg="mod">
          <ac:chgData name="Zeilbeck.Severin GR" userId="783c9c34-624e-4e38-9174-9a6c9116fb94" providerId="ADAL" clId="{EEC56677-7D61-48F5-B473-6CD3FC324432}" dt="2025-03-19T14:15:38.272" v="566"/>
          <ac:picMkLst>
            <pc:docMk/>
            <pc:sldMk cId="608796034" sldId="2147481042"/>
            <ac:picMk id="9" creationId="{BB2F6E14-7EC7-B659-112C-BCFE7603ED5A}"/>
          </ac:picMkLst>
        </pc:picChg>
        <pc:picChg chg="add mod">
          <ac:chgData name="Zeilbeck.Severin GR" userId="783c9c34-624e-4e38-9174-9a6c9116fb94" providerId="ADAL" clId="{EEC56677-7D61-48F5-B473-6CD3FC324432}" dt="2025-03-19T14:34:43.582" v="1025" actId="164"/>
          <ac:picMkLst>
            <pc:docMk/>
            <pc:sldMk cId="608796034" sldId="2147481042"/>
            <ac:picMk id="15" creationId="{0BC132F9-BD46-A1E5-7CB7-10FCFF8999CF}"/>
          </ac:picMkLst>
        </pc:picChg>
      </pc:sldChg>
      <pc:sldChg chg="addSp delSp modSp add mod ord chgLayout">
        <pc:chgData name="Zeilbeck.Severin GR" userId="783c9c34-624e-4e38-9174-9a6c9116fb94" providerId="ADAL" clId="{EEC56677-7D61-48F5-B473-6CD3FC324432}" dt="2025-03-19T15:02:14.234" v="1634"/>
        <pc:sldMkLst>
          <pc:docMk/>
          <pc:sldMk cId="2955587310" sldId="2147481043"/>
        </pc:sldMkLst>
        <pc:spChg chg="mod ord">
          <ac:chgData name="Zeilbeck.Severin GR" userId="783c9c34-624e-4e38-9174-9a6c9116fb94" providerId="ADAL" clId="{EEC56677-7D61-48F5-B473-6CD3FC324432}" dt="2025-03-19T14:39:43.694" v="1177" actId="700"/>
          <ac:spMkLst>
            <pc:docMk/>
            <pc:sldMk cId="2955587310" sldId="2147481043"/>
            <ac:spMk id="2" creationId="{79451E76-C792-429D-B076-9E7A27FC6E02}"/>
          </ac:spMkLst>
        </pc:spChg>
        <pc:spChg chg="mod ord">
          <ac:chgData name="Zeilbeck.Severin GR" userId="783c9c34-624e-4e38-9174-9a6c9116fb94" providerId="ADAL" clId="{EEC56677-7D61-48F5-B473-6CD3FC324432}" dt="2025-03-19T14:44:22.717" v="1235"/>
          <ac:spMkLst>
            <pc:docMk/>
            <pc:sldMk cId="2955587310" sldId="2147481043"/>
            <ac:spMk id="4" creationId="{6EA64D46-5D96-1773-609C-CBD10A5C89EC}"/>
          </ac:spMkLst>
        </pc:spChg>
        <pc:spChg chg="mod ord">
          <ac:chgData name="Zeilbeck.Severin GR" userId="783c9c34-624e-4e38-9174-9a6c9116fb94" providerId="ADAL" clId="{EEC56677-7D61-48F5-B473-6CD3FC324432}" dt="2025-03-19T14:39:43.694" v="1177" actId="700"/>
          <ac:spMkLst>
            <pc:docMk/>
            <pc:sldMk cId="2955587310" sldId="2147481043"/>
            <ac:spMk id="6" creationId="{FC6F27A1-836F-4BE3-CF07-3EE66AD62AAA}"/>
          </ac:spMkLst>
        </pc:spChg>
        <pc:spChg chg="mod ord">
          <ac:chgData name="Zeilbeck.Severin GR" userId="783c9c34-624e-4e38-9174-9a6c9116fb94" providerId="ADAL" clId="{EEC56677-7D61-48F5-B473-6CD3FC324432}" dt="2025-03-19T14:48:46.065" v="1303" actId="20577"/>
          <ac:spMkLst>
            <pc:docMk/>
            <pc:sldMk cId="2955587310" sldId="2147481043"/>
            <ac:spMk id="416" creationId="{97B2E588-38DC-3956-9831-A7B368CEAC1D}"/>
          </ac:spMkLst>
        </pc:spChg>
        <pc:grpChg chg="del">
          <ac:chgData name="Zeilbeck.Severin GR" userId="783c9c34-624e-4e38-9174-9a6c9116fb94" providerId="ADAL" clId="{EEC56677-7D61-48F5-B473-6CD3FC324432}" dt="2025-03-19T14:39:31.629" v="1175" actId="478"/>
          <ac:grpSpMkLst>
            <pc:docMk/>
            <pc:sldMk cId="2955587310" sldId="2147481043"/>
            <ac:grpSpMk id="31" creationId="{E540EDC1-66C6-FAD3-CC67-B3371851DCBF}"/>
          </ac:grpSpMkLst>
        </pc:grpChg>
        <pc:grpChg chg="del">
          <ac:chgData name="Zeilbeck.Severin GR" userId="783c9c34-624e-4e38-9174-9a6c9116fb94" providerId="ADAL" clId="{EEC56677-7D61-48F5-B473-6CD3FC324432}" dt="2025-03-19T14:39:35.304" v="1176" actId="478"/>
          <ac:grpSpMkLst>
            <pc:docMk/>
            <pc:sldMk cId="2955587310" sldId="2147481043"/>
            <ac:grpSpMk id="424" creationId="{C877127A-C0D3-2AC8-5A60-8F89E9A1EB93}"/>
          </ac:grpSpMkLst>
        </pc:grpChg>
        <pc:picChg chg="add mod">
          <ac:chgData name="Zeilbeck.Severin GR" userId="783c9c34-624e-4e38-9174-9a6c9116fb94" providerId="ADAL" clId="{EEC56677-7D61-48F5-B473-6CD3FC324432}" dt="2025-03-19T14:47:58.865" v="1284" actId="1076"/>
          <ac:picMkLst>
            <pc:docMk/>
            <pc:sldMk cId="2955587310" sldId="2147481043"/>
            <ac:picMk id="7" creationId="{3538AA5B-ABA3-8C0C-14FB-75CA69A37EA1}"/>
          </ac:picMkLst>
        </pc:picChg>
      </pc:sldChg>
      <pc:sldChg chg="addSp delSp modSp new mod">
        <pc:chgData name="Zeilbeck.Severin GR" userId="783c9c34-624e-4e38-9174-9a6c9116fb94" providerId="ADAL" clId="{EEC56677-7D61-48F5-B473-6CD3FC324432}" dt="2025-03-19T15:07:31.561" v="1738"/>
        <pc:sldMkLst>
          <pc:docMk/>
          <pc:sldMk cId="1313370468" sldId="2147481044"/>
        </pc:sldMkLst>
        <pc:spChg chg="del">
          <ac:chgData name="Zeilbeck.Severin GR" userId="783c9c34-624e-4e38-9174-9a6c9116fb94" providerId="ADAL" clId="{EEC56677-7D61-48F5-B473-6CD3FC324432}" dt="2025-03-19T15:03:10.540" v="1639" actId="478"/>
          <ac:spMkLst>
            <pc:docMk/>
            <pc:sldMk cId="1313370468" sldId="2147481044"/>
            <ac:spMk id="3" creationId="{BD76864C-870F-9961-EBC4-98098AB43977}"/>
          </ac:spMkLst>
        </pc:spChg>
        <pc:spChg chg="mod">
          <ac:chgData name="Zeilbeck.Severin GR" userId="783c9c34-624e-4e38-9174-9a6c9116fb94" providerId="ADAL" clId="{EEC56677-7D61-48F5-B473-6CD3FC324432}" dt="2025-03-19T15:04:22.185" v="1681" actId="20577"/>
          <ac:spMkLst>
            <pc:docMk/>
            <pc:sldMk cId="1313370468" sldId="2147481044"/>
            <ac:spMk id="4" creationId="{D4A15D7B-5DA9-BFA9-280B-2271369A47C8}"/>
          </ac:spMkLst>
        </pc:spChg>
        <pc:spChg chg="del mod">
          <ac:chgData name="Zeilbeck.Severin GR" userId="783c9c34-624e-4e38-9174-9a6c9116fb94" providerId="ADAL" clId="{EEC56677-7D61-48F5-B473-6CD3FC324432}" dt="2025-03-19T15:07:25.590" v="1737" actId="478"/>
          <ac:spMkLst>
            <pc:docMk/>
            <pc:sldMk cId="1313370468" sldId="2147481044"/>
            <ac:spMk id="5" creationId="{4590C74B-1A29-1BA5-2EB3-F5BC1BDBA365}"/>
          </ac:spMkLst>
        </pc:spChg>
        <pc:spChg chg="del">
          <ac:chgData name="Zeilbeck.Severin GR" userId="783c9c34-624e-4e38-9174-9a6c9116fb94" providerId="ADAL" clId="{EEC56677-7D61-48F5-B473-6CD3FC324432}" dt="2025-03-19T15:07:21.443" v="1735" actId="478"/>
          <ac:spMkLst>
            <pc:docMk/>
            <pc:sldMk cId="1313370468" sldId="2147481044"/>
            <ac:spMk id="6" creationId="{FA04963C-F455-D4C7-9D0E-145257A92F57}"/>
          </ac:spMkLst>
        </pc:spChg>
        <pc:spChg chg="mod">
          <ac:chgData name="Zeilbeck.Severin GR" userId="783c9c34-624e-4e38-9174-9a6c9116fb94" providerId="ADAL" clId="{EEC56677-7D61-48F5-B473-6CD3FC324432}" dt="2025-03-19T15:05:31.800" v="1701" actId="403"/>
          <ac:spMkLst>
            <pc:docMk/>
            <pc:sldMk cId="1313370468" sldId="2147481044"/>
            <ac:spMk id="12" creationId="{2E42BFDF-25F9-B5D5-A663-E7B58D13A116}"/>
          </ac:spMkLst>
        </pc:spChg>
        <pc:spChg chg="mod">
          <ac:chgData name="Zeilbeck.Severin GR" userId="783c9c34-624e-4e38-9174-9a6c9116fb94" providerId="ADAL" clId="{EEC56677-7D61-48F5-B473-6CD3FC324432}" dt="2025-03-19T15:03:00.987" v="1638"/>
          <ac:spMkLst>
            <pc:docMk/>
            <pc:sldMk cId="1313370468" sldId="2147481044"/>
            <ac:spMk id="14" creationId="{36B10D36-075A-D408-C385-7F951D085CFB}"/>
          </ac:spMkLst>
        </pc:spChg>
        <pc:spChg chg="mod">
          <ac:chgData name="Zeilbeck.Severin GR" userId="783c9c34-624e-4e38-9174-9a6c9116fb94" providerId="ADAL" clId="{EEC56677-7D61-48F5-B473-6CD3FC324432}" dt="2025-03-19T15:07:00.563" v="1728" actId="403"/>
          <ac:spMkLst>
            <pc:docMk/>
            <pc:sldMk cId="1313370468" sldId="2147481044"/>
            <ac:spMk id="18" creationId="{B4457831-8429-BD43-C712-23FAD41FE23C}"/>
          </ac:spMkLst>
        </pc:spChg>
        <pc:spChg chg="mod">
          <ac:chgData name="Zeilbeck.Severin GR" userId="783c9c34-624e-4e38-9174-9a6c9116fb94" providerId="ADAL" clId="{EEC56677-7D61-48F5-B473-6CD3FC324432}" dt="2025-03-19T15:03:00.987" v="1638"/>
          <ac:spMkLst>
            <pc:docMk/>
            <pc:sldMk cId="1313370468" sldId="2147481044"/>
            <ac:spMk id="21" creationId="{11E24D8F-C7F0-3C1B-2BDB-047745722003}"/>
          </ac:spMkLst>
        </pc:spChg>
        <pc:spChg chg="mod">
          <ac:chgData name="Zeilbeck.Severin GR" userId="783c9c34-624e-4e38-9174-9a6c9116fb94" providerId="ADAL" clId="{EEC56677-7D61-48F5-B473-6CD3FC324432}" dt="2025-03-19T15:03:00.987" v="1638"/>
          <ac:spMkLst>
            <pc:docMk/>
            <pc:sldMk cId="1313370468" sldId="2147481044"/>
            <ac:spMk id="23" creationId="{6F84BB93-E743-5E37-CF5F-7237271066AB}"/>
          </ac:spMkLst>
        </pc:spChg>
        <pc:spChg chg="mod">
          <ac:chgData name="Zeilbeck.Severin GR" userId="783c9c34-624e-4e38-9174-9a6c9116fb94" providerId="ADAL" clId="{EEC56677-7D61-48F5-B473-6CD3FC324432}" dt="2025-03-19T15:05:20.341" v="1696" actId="403"/>
          <ac:spMkLst>
            <pc:docMk/>
            <pc:sldMk cId="1313370468" sldId="2147481044"/>
            <ac:spMk id="27" creationId="{5BCD86B2-DEBE-EAE8-925F-944FA96AD38E}"/>
          </ac:spMkLst>
        </pc:spChg>
        <pc:spChg chg="mod">
          <ac:chgData name="Zeilbeck.Severin GR" userId="783c9c34-624e-4e38-9174-9a6c9116fb94" providerId="ADAL" clId="{EEC56677-7D61-48F5-B473-6CD3FC324432}" dt="2025-03-19T15:03:00.987" v="1638"/>
          <ac:spMkLst>
            <pc:docMk/>
            <pc:sldMk cId="1313370468" sldId="2147481044"/>
            <ac:spMk id="30" creationId="{E77AF317-3C95-D2FA-5707-D64AD15EF2B7}"/>
          </ac:spMkLst>
        </pc:spChg>
        <pc:spChg chg="mod">
          <ac:chgData name="Zeilbeck.Severin GR" userId="783c9c34-624e-4e38-9174-9a6c9116fb94" providerId="ADAL" clId="{EEC56677-7D61-48F5-B473-6CD3FC324432}" dt="2025-03-19T15:03:00.987" v="1638"/>
          <ac:spMkLst>
            <pc:docMk/>
            <pc:sldMk cId="1313370468" sldId="2147481044"/>
            <ac:spMk id="32" creationId="{A86013B9-A263-FA93-5060-77BBAB15A506}"/>
          </ac:spMkLst>
        </pc:spChg>
        <pc:spChg chg="mod">
          <ac:chgData name="Zeilbeck.Severin GR" userId="783c9c34-624e-4e38-9174-9a6c9116fb94" providerId="ADAL" clId="{EEC56677-7D61-48F5-B473-6CD3FC324432}" dt="2025-03-19T15:07:14.994" v="1734" actId="403"/>
          <ac:spMkLst>
            <pc:docMk/>
            <pc:sldMk cId="1313370468" sldId="2147481044"/>
            <ac:spMk id="36" creationId="{759AF5A7-DFDC-A8D3-6ADC-07DAFB48DCD5}"/>
          </ac:spMkLst>
        </pc:spChg>
        <pc:spChg chg="mod">
          <ac:chgData name="Zeilbeck.Severin GR" userId="783c9c34-624e-4e38-9174-9a6c9116fb94" providerId="ADAL" clId="{EEC56677-7D61-48F5-B473-6CD3FC324432}" dt="2025-03-19T15:03:00.987" v="1638"/>
          <ac:spMkLst>
            <pc:docMk/>
            <pc:sldMk cId="1313370468" sldId="2147481044"/>
            <ac:spMk id="38" creationId="{4484EF30-E65E-F7EA-644C-9397A0E8D412}"/>
          </ac:spMkLst>
        </pc:spChg>
        <pc:spChg chg="add mod">
          <ac:chgData name="Zeilbeck.Severin GR" userId="783c9c34-624e-4e38-9174-9a6c9116fb94" providerId="ADAL" clId="{EEC56677-7D61-48F5-B473-6CD3FC324432}" dt="2025-03-19T15:06:41.162" v="1722" actId="403"/>
          <ac:spMkLst>
            <pc:docMk/>
            <pc:sldMk cId="1313370468" sldId="2147481044"/>
            <ac:spMk id="40" creationId="{EF77701D-608A-9A1E-44CD-0513D107E258}"/>
          </ac:spMkLst>
        </pc:spChg>
        <pc:spChg chg="add mod">
          <ac:chgData name="Zeilbeck.Severin GR" userId="783c9c34-624e-4e38-9174-9a6c9116fb94" providerId="ADAL" clId="{EEC56677-7D61-48F5-B473-6CD3FC324432}" dt="2025-03-19T15:06:20.528" v="1716" actId="20577"/>
          <ac:spMkLst>
            <pc:docMk/>
            <pc:sldMk cId="1313370468" sldId="2147481044"/>
            <ac:spMk id="41" creationId="{84919C0C-11BD-490F-6CDF-C6FB24F47D82}"/>
          </ac:spMkLst>
        </pc:spChg>
        <pc:spChg chg="add mod">
          <ac:chgData name="Zeilbeck.Severin GR" userId="783c9c34-624e-4e38-9174-9a6c9116fb94" providerId="ADAL" clId="{EEC56677-7D61-48F5-B473-6CD3FC324432}" dt="2025-03-19T15:05:55.871" v="1707" actId="403"/>
          <ac:spMkLst>
            <pc:docMk/>
            <pc:sldMk cId="1313370468" sldId="2147481044"/>
            <ac:spMk id="42" creationId="{113BFAAF-25B1-7E87-5B2E-5A0481A461AD}"/>
          </ac:spMkLst>
        </pc:spChg>
        <pc:spChg chg="mod">
          <ac:chgData name="Zeilbeck.Severin GR" userId="783c9c34-624e-4e38-9174-9a6c9116fb94" providerId="ADAL" clId="{EEC56677-7D61-48F5-B473-6CD3FC324432}" dt="2025-03-19T15:03:34.242" v="1641"/>
          <ac:spMkLst>
            <pc:docMk/>
            <pc:sldMk cId="1313370468" sldId="2147481044"/>
            <ac:spMk id="44" creationId="{3266B2F3-DD9A-3E45-80E9-970E20CF72F0}"/>
          </ac:spMkLst>
        </pc:spChg>
        <pc:spChg chg="mod">
          <ac:chgData name="Zeilbeck.Severin GR" userId="783c9c34-624e-4e38-9174-9a6c9116fb94" providerId="ADAL" clId="{EEC56677-7D61-48F5-B473-6CD3FC324432}" dt="2025-03-19T15:03:34.242" v="1641"/>
          <ac:spMkLst>
            <pc:docMk/>
            <pc:sldMk cId="1313370468" sldId="2147481044"/>
            <ac:spMk id="47" creationId="{EFA73C9C-436B-E88C-34AC-AD0890045251}"/>
          </ac:spMkLst>
        </pc:spChg>
        <pc:spChg chg="mod">
          <ac:chgData name="Zeilbeck.Severin GR" userId="783c9c34-624e-4e38-9174-9a6c9116fb94" providerId="ADAL" clId="{EEC56677-7D61-48F5-B473-6CD3FC324432}" dt="2025-03-19T15:03:34.242" v="1641"/>
          <ac:spMkLst>
            <pc:docMk/>
            <pc:sldMk cId="1313370468" sldId="2147481044"/>
            <ac:spMk id="50" creationId="{F2793316-B91E-D9C5-9B07-51A23ADD49F6}"/>
          </ac:spMkLst>
        </pc:spChg>
        <pc:spChg chg="add mod">
          <ac:chgData name="Zeilbeck.Severin GR" userId="783c9c34-624e-4e38-9174-9a6c9116fb94" providerId="ADAL" clId="{EEC56677-7D61-48F5-B473-6CD3FC324432}" dt="2025-03-19T15:07:31.561" v="1738"/>
          <ac:spMkLst>
            <pc:docMk/>
            <pc:sldMk cId="1313370468" sldId="2147481044"/>
            <ac:spMk id="52" creationId="{BDC2D8E4-E5DA-F230-2219-EE5BEA0CC9BE}"/>
          </ac:spMkLst>
        </pc:spChg>
        <pc:spChg chg="add mod">
          <ac:chgData name="Zeilbeck.Severin GR" userId="783c9c34-624e-4e38-9174-9a6c9116fb94" providerId="ADAL" clId="{EEC56677-7D61-48F5-B473-6CD3FC324432}" dt="2025-03-19T15:07:31.561" v="1738"/>
          <ac:spMkLst>
            <pc:docMk/>
            <pc:sldMk cId="1313370468" sldId="2147481044"/>
            <ac:spMk id="53" creationId="{6F95B45A-93CC-7EF8-C5C1-155D11F04BC1}"/>
          </ac:spMkLst>
        </pc:spChg>
        <pc:grpChg chg="add mod">
          <ac:chgData name="Zeilbeck.Severin GR" userId="783c9c34-624e-4e38-9174-9a6c9116fb94" providerId="ADAL" clId="{EEC56677-7D61-48F5-B473-6CD3FC324432}" dt="2025-03-19T15:03:00.987" v="1638"/>
          <ac:grpSpMkLst>
            <pc:docMk/>
            <pc:sldMk cId="1313370468" sldId="2147481044"/>
            <ac:grpSpMk id="10" creationId="{4D2F54D7-3175-6DA1-F1C5-CE6B44E397BC}"/>
          </ac:grpSpMkLst>
        </pc:grpChg>
        <pc:grpChg chg="mod">
          <ac:chgData name="Zeilbeck.Severin GR" userId="783c9c34-624e-4e38-9174-9a6c9116fb94" providerId="ADAL" clId="{EEC56677-7D61-48F5-B473-6CD3FC324432}" dt="2025-03-19T15:03:00.987" v="1638"/>
          <ac:grpSpMkLst>
            <pc:docMk/>
            <pc:sldMk cId="1313370468" sldId="2147481044"/>
            <ac:grpSpMk id="13" creationId="{FB827DC5-67BE-2B6E-2312-F845D3698C66}"/>
          </ac:grpSpMkLst>
        </pc:grpChg>
        <pc:grpChg chg="add mod">
          <ac:chgData name="Zeilbeck.Severin GR" userId="783c9c34-624e-4e38-9174-9a6c9116fb94" providerId="ADAL" clId="{EEC56677-7D61-48F5-B473-6CD3FC324432}" dt="2025-03-19T15:03:00.987" v="1638"/>
          <ac:grpSpMkLst>
            <pc:docMk/>
            <pc:sldMk cId="1313370468" sldId="2147481044"/>
            <ac:grpSpMk id="16" creationId="{0CD4FBCB-ADDD-2082-8EE1-28B5460C2398}"/>
          </ac:grpSpMkLst>
        </pc:grpChg>
        <pc:grpChg chg="mod">
          <ac:chgData name="Zeilbeck.Severin GR" userId="783c9c34-624e-4e38-9174-9a6c9116fb94" providerId="ADAL" clId="{EEC56677-7D61-48F5-B473-6CD3FC324432}" dt="2025-03-19T15:03:00.987" v="1638"/>
          <ac:grpSpMkLst>
            <pc:docMk/>
            <pc:sldMk cId="1313370468" sldId="2147481044"/>
            <ac:grpSpMk id="19" creationId="{18BEEDA9-8BD0-5BFA-BE53-A4BAA3F9731C}"/>
          </ac:grpSpMkLst>
        </pc:grpChg>
        <pc:grpChg chg="mod">
          <ac:chgData name="Zeilbeck.Severin GR" userId="783c9c34-624e-4e38-9174-9a6c9116fb94" providerId="ADAL" clId="{EEC56677-7D61-48F5-B473-6CD3FC324432}" dt="2025-03-19T15:03:00.987" v="1638"/>
          <ac:grpSpMkLst>
            <pc:docMk/>
            <pc:sldMk cId="1313370468" sldId="2147481044"/>
            <ac:grpSpMk id="20" creationId="{ED3C4513-E4F5-2F15-8995-D1E6807D323F}"/>
          </ac:grpSpMkLst>
        </pc:grpChg>
        <pc:grpChg chg="add mod">
          <ac:chgData name="Zeilbeck.Severin GR" userId="783c9c34-624e-4e38-9174-9a6c9116fb94" providerId="ADAL" clId="{EEC56677-7D61-48F5-B473-6CD3FC324432}" dt="2025-03-19T15:03:00.987" v="1638"/>
          <ac:grpSpMkLst>
            <pc:docMk/>
            <pc:sldMk cId="1313370468" sldId="2147481044"/>
            <ac:grpSpMk id="25" creationId="{F0D79363-CCE6-D746-0D06-0576E4B81659}"/>
          </ac:grpSpMkLst>
        </pc:grpChg>
        <pc:grpChg chg="mod">
          <ac:chgData name="Zeilbeck.Severin GR" userId="783c9c34-624e-4e38-9174-9a6c9116fb94" providerId="ADAL" clId="{EEC56677-7D61-48F5-B473-6CD3FC324432}" dt="2025-03-19T15:03:00.987" v="1638"/>
          <ac:grpSpMkLst>
            <pc:docMk/>
            <pc:sldMk cId="1313370468" sldId="2147481044"/>
            <ac:grpSpMk id="28" creationId="{D5412BE0-A52F-CE6D-4662-654A26A91DB2}"/>
          </ac:grpSpMkLst>
        </pc:grpChg>
        <pc:grpChg chg="mod">
          <ac:chgData name="Zeilbeck.Severin GR" userId="783c9c34-624e-4e38-9174-9a6c9116fb94" providerId="ADAL" clId="{EEC56677-7D61-48F5-B473-6CD3FC324432}" dt="2025-03-19T15:03:00.987" v="1638"/>
          <ac:grpSpMkLst>
            <pc:docMk/>
            <pc:sldMk cId="1313370468" sldId="2147481044"/>
            <ac:grpSpMk id="29" creationId="{0FED0E4B-4B33-2780-D018-906B2DA85500}"/>
          </ac:grpSpMkLst>
        </pc:grpChg>
        <pc:grpChg chg="add mod">
          <ac:chgData name="Zeilbeck.Severin GR" userId="783c9c34-624e-4e38-9174-9a6c9116fb94" providerId="ADAL" clId="{EEC56677-7D61-48F5-B473-6CD3FC324432}" dt="2025-03-19T15:03:00.987" v="1638"/>
          <ac:grpSpMkLst>
            <pc:docMk/>
            <pc:sldMk cId="1313370468" sldId="2147481044"/>
            <ac:grpSpMk id="34" creationId="{748EE2AE-E222-61E7-571A-8129233B1086}"/>
          </ac:grpSpMkLst>
        </pc:grpChg>
        <pc:grpChg chg="mod">
          <ac:chgData name="Zeilbeck.Severin GR" userId="783c9c34-624e-4e38-9174-9a6c9116fb94" providerId="ADAL" clId="{EEC56677-7D61-48F5-B473-6CD3FC324432}" dt="2025-03-19T15:03:00.987" v="1638"/>
          <ac:grpSpMkLst>
            <pc:docMk/>
            <pc:sldMk cId="1313370468" sldId="2147481044"/>
            <ac:grpSpMk id="37" creationId="{86A173E4-0E7C-8224-FA5D-8F148DF81B39}"/>
          </ac:grpSpMkLst>
        </pc:grpChg>
        <pc:grpChg chg="add mod">
          <ac:chgData name="Zeilbeck.Severin GR" userId="783c9c34-624e-4e38-9174-9a6c9116fb94" providerId="ADAL" clId="{EEC56677-7D61-48F5-B473-6CD3FC324432}" dt="2025-03-19T15:03:34.242" v="1641"/>
          <ac:grpSpMkLst>
            <pc:docMk/>
            <pc:sldMk cId="1313370468" sldId="2147481044"/>
            <ac:grpSpMk id="43" creationId="{6C9C251A-AC05-379B-4501-6EB85CD8BF30}"/>
          </ac:grpSpMkLst>
        </pc:grpChg>
        <pc:grpChg chg="add mod">
          <ac:chgData name="Zeilbeck.Severin GR" userId="783c9c34-624e-4e38-9174-9a6c9116fb94" providerId="ADAL" clId="{EEC56677-7D61-48F5-B473-6CD3FC324432}" dt="2025-03-19T15:03:34.242" v="1641"/>
          <ac:grpSpMkLst>
            <pc:docMk/>
            <pc:sldMk cId="1313370468" sldId="2147481044"/>
            <ac:grpSpMk id="46" creationId="{8934582F-E7B2-8D3F-58B5-12DF1288279D}"/>
          </ac:grpSpMkLst>
        </pc:grpChg>
        <pc:grpChg chg="add mod">
          <ac:chgData name="Zeilbeck.Severin GR" userId="783c9c34-624e-4e38-9174-9a6c9116fb94" providerId="ADAL" clId="{EEC56677-7D61-48F5-B473-6CD3FC324432}" dt="2025-03-19T15:03:34.242" v="1641"/>
          <ac:grpSpMkLst>
            <pc:docMk/>
            <pc:sldMk cId="1313370468" sldId="2147481044"/>
            <ac:grpSpMk id="49" creationId="{D45E0955-4AA4-3E45-553C-F69E0987E815}"/>
          </ac:grpSpMkLst>
        </pc:grpChg>
        <pc:picChg chg="add mod">
          <ac:chgData name="Zeilbeck.Severin GR" userId="783c9c34-624e-4e38-9174-9a6c9116fb94" providerId="ADAL" clId="{EEC56677-7D61-48F5-B473-6CD3FC324432}" dt="2025-03-19T15:03:00.987" v="1638"/>
          <ac:picMkLst>
            <pc:docMk/>
            <pc:sldMk cId="1313370468" sldId="2147481044"/>
            <ac:picMk id="7" creationId="{70561C5A-8037-4BAD-60BA-959869DF221F}"/>
          </ac:picMkLst>
        </pc:picChg>
        <pc:picChg chg="add mod">
          <ac:chgData name="Zeilbeck.Severin GR" userId="783c9c34-624e-4e38-9174-9a6c9116fb94" providerId="ADAL" clId="{EEC56677-7D61-48F5-B473-6CD3FC324432}" dt="2025-03-19T15:03:00.987" v="1638"/>
          <ac:picMkLst>
            <pc:docMk/>
            <pc:sldMk cId="1313370468" sldId="2147481044"/>
            <ac:picMk id="8" creationId="{E59522B0-7F3D-A413-9858-B2EA25F6579D}"/>
          </ac:picMkLst>
        </pc:picChg>
        <pc:picChg chg="add mod">
          <ac:chgData name="Zeilbeck.Severin GR" userId="783c9c34-624e-4e38-9174-9a6c9116fb94" providerId="ADAL" clId="{EEC56677-7D61-48F5-B473-6CD3FC324432}" dt="2025-03-19T15:03:00.987" v="1638"/>
          <ac:picMkLst>
            <pc:docMk/>
            <pc:sldMk cId="1313370468" sldId="2147481044"/>
            <ac:picMk id="9" creationId="{165F1891-E451-0D86-C0C0-052001AD26C9}"/>
          </ac:picMkLst>
        </pc:picChg>
        <pc:picChg chg="mod">
          <ac:chgData name="Zeilbeck.Severin GR" userId="783c9c34-624e-4e38-9174-9a6c9116fb94" providerId="ADAL" clId="{EEC56677-7D61-48F5-B473-6CD3FC324432}" dt="2025-03-19T15:03:00.987" v="1638"/>
          <ac:picMkLst>
            <pc:docMk/>
            <pc:sldMk cId="1313370468" sldId="2147481044"/>
            <ac:picMk id="11" creationId="{E0CDD4FE-89DC-F492-C8D9-FEF0D6188700}"/>
          </ac:picMkLst>
        </pc:picChg>
        <pc:picChg chg="mod">
          <ac:chgData name="Zeilbeck.Severin GR" userId="783c9c34-624e-4e38-9174-9a6c9116fb94" providerId="ADAL" clId="{EEC56677-7D61-48F5-B473-6CD3FC324432}" dt="2025-03-19T15:03:00.987" v="1638"/>
          <ac:picMkLst>
            <pc:docMk/>
            <pc:sldMk cId="1313370468" sldId="2147481044"/>
            <ac:picMk id="15" creationId="{B0FBBB1C-73BF-550B-5203-F316A1334DA4}"/>
          </ac:picMkLst>
        </pc:picChg>
        <pc:picChg chg="mod">
          <ac:chgData name="Zeilbeck.Severin GR" userId="783c9c34-624e-4e38-9174-9a6c9116fb94" providerId="ADAL" clId="{EEC56677-7D61-48F5-B473-6CD3FC324432}" dt="2025-03-19T15:03:00.987" v="1638"/>
          <ac:picMkLst>
            <pc:docMk/>
            <pc:sldMk cId="1313370468" sldId="2147481044"/>
            <ac:picMk id="17" creationId="{70519A69-2C9A-F714-DD88-31544C172B8D}"/>
          </ac:picMkLst>
        </pc:picChg>
        <pc:picChg chg="mod">
          <ac:chgData name="Zeilbeck.Severin GR" userId="783c9c34-624e-4e38-9174-9a6c9116fb94" providerId="ADAL" clId="{EEC56677-7D61-48F5-B473-6CD3FC324432}" dt="2025-03-19T15:03:00.987" v="1638"/>
          <ac:picMkLst>
            <pc:docMk/>
            <pc:sldMk cId="1313370468" sldId="2147481044"/>
            <ac:picMk id="22" creationId="{A0FB44AD-CFF7-8798-69C4-6D4F1872F9FC}"/>
          </ac:picMkLst>
        </pc:picChg>
        <pc:picChg chg="mod">
          <ac:chgData name="Zeilbeck.Severin GR" userId="783c9c34-624e-4e38-9174-9a6c9116fb94" providerId="ADAL" clId="{EEC56677-7D61-48F5-B473-6CD3FC324432}" dt="2025-03-19T15:03:00.987" v="1638"/>
          <ac:picMkLst>
            <pc:docMk/>
            <pc:sldMk cId="1313370468" sldId="2147481044"/>
            <ac:picMk id="24" creationId="{51DCE8AA-D2C1-172A-F836-F78529058E36}"/>
          </ac:picMkLst>
        </pc:picChg>
        <pc:picChg chg="mod">
          <ac:chgData name="Zeilbeck.Severin GR" userId="783c9c34-624e-4e38-9174-9a6c9116fb94" providerId="ADAL" clId="{EEC56677-7D61-48F5-B473-6CD3FC324432}" dt="2025-03-19T15:03:00.987" v="1638"/>
          <ac:picMkLst>
            <pc:docMk/>
            <pc:sldMk cId="1313370468" sldId="2147481044"/>
            <ac:picMk id="26" creationId="{0C9DA529-5406-8565-9186-020876BD54A5}"/>
          </ac:picMkLst>
        </pc:picChg>
        <pc:picChg chg="mod">
          <ac:chgData name="Zeilbeck.Severin GR" userId="783c9c34-624e-4e38-9174-9a6c9116fb94" providerId="ADAL" clId="{EEC56677-7D61-48F5-B473-6CD3FC324432}" dt="2025-03-19T15:03:00.987" v="1638"/>
          <ac:picMkLst>
            <pc:docMk/>
            <pc:sldMk cId="1313370468" sldId="2147481044"/>
            <ac:picMk id="31" creationId="{166ED920-1B04-883A-EE67-EDB79394A3A5}"/>
          </ac:picMkLst>
        </pc:picChg>
        <pc:picChg chg="mod">
          <ac:chgData name="Zeilbeck.Severin GR" userId="783c9c34-624e-4e38-9174-9a6c9116fb94" providerId="ADAL" clId="{EEC56677-7D61-48F5-B473-6CD3FC324432}" dt="2025-03-19T15:03:00.987" v="1638"/>
          <ac:picMkLst>
            <pc:docMk/>
            <pc:sldMk cId="1313370468" sldId="2147481044"/>
            <ac:picMk id="33" creationId="{3C8F1220-2613-D1D5-C616-6B53541BE73F}"/>
          </ac:picMkLst>
        </pc:picChg>
        <pc:picChg chg="mod">
          <ac:chgData name="Zeilbeck.Severin GR" userId="783c9c34-624e-4e38-9174-9a6c9116fb94" providerId="ADAL" clId="{EEC56677-7D61-48F5-B473-6CD3FC324432}" dt="2025-03-19T15:03:00.987" v="1638"/>
          <ac:picMkLst>
            <pc:docMk/>
            <pc:sldMk cId="1313370468" sldId="2147481044"/>
            <ac:picMk id="35" creationId="{AC741934-CE70-5318-D9ED-8CB5670DAC07}"/>
          </ac:picMkLst>
        </pc:picChg>
        <pc:picChg chg="mod">
          <ac:chgData name="Zeilbeck.Severin GR" userId="783c9c34-624e-4e38-9174-9a6c9116fb94" providerId="ADAL" clId="{EEC56677-7D61-48F5-B473-6CD3FC324432}" dt="2025-03-19T15:03:00.987" v="1638"/>
          <ac:picMkLst>
            <pc:docMk/>
            <pc:sldMk cId="1313370468" sldId="2147481044"/>
            <ac:picMk id="39" creationId="{064CF7ED-47EA-9810-76C5-0EFA0D8557C8}"/>
          </ac:picMkLst>
        </pc:picChg>
        <pc:picChg chg="mod">
          <ac:chgData name="Zeilbeck.Severin GR" userId="783c9c34-624e-4e38-9174-9a6c9116fb94" providerId="ADAL" clId="{EEC56677-7D61-48F5-B473-6CD3FC324432}" dt="2025-03-19T15:03:34.242" v="1641"/>
          <ac:picMkLst>
            <pc:docMk/>
            <pc:sldMk cId="1313370468" sldId="2147481044"/>
            <ac:picMk id="45" creationId="{8BDFE074-2BA4-2F4C-5901-09E013194A1D}"/>
          </ac:picMkLst>
        </pc:picChg>
        <pc:picChg chg="mod">
          <ac:chgData name="Zeilbeck.Severin GR" userId="783c9c34-624e-4e38-9174-9a6c9116fb94" providerId="ADAL" clId="{EEC56677-7D61-48F5-B473-6CD3FC324432}" dt="2025-03-19T15:03:34.242" v="1641"/>
          <ac:picMkLst>
            <pc:docMk/>
            <pc:sldMk cId="1313370468" sldId="2147481044"/>
            <ac:picMk id="48" creationId="{493FE436-639A-6B8B-5E48-4DC51AC2FB4F}"/>
          </ac:picMkLst>
        </pc:picChg>
        <pc:picChg chg="mod">
          <ac:chgData name="Zeilbeck.Severin GR" userId="783c9c34-624e-4e38-9174-9a6c9116fb94" providerId="ADAL" clId="{EEC56677-7D61-48F5-B473-6CD3FC324432}" dt="2025-03-19T15:03:34.242" v="1641"/>
          <ac:picMkLst>
            <pc:docMk/>
            <pc:sldMk cId="1313370468" sldId="2147481044"/>
            <ac:picMk id="51" creationId="{B08C51B9-A948-3541-0867-0BDE4D10C4E8}"/>
          </ac:picMkLst>
        </pc:picChg>
      </pc:sldChg>
    </pc:docChg>
  </pc:docChgLst>
  <pc:docChgLst>
    <pc:chgData name="Huber.Vanessa GR" userId="S::huber.vanessa@swm.de::30bf8bd0-fa6f-4906-9504-786ecee7ad9f" providerId="AD" clId="Web-{D47C8919-760F-0FC7-5D0A-1348D69C0C23}"/>
    <pc:docChg chg="modSld">
      <pc:chgData name="Huber.Vanessa GR" userId="S::huber.vanessa@swm.de::30bf8bd0-fa6f-4906-9504-786ecee7ad9f" providerId="AD" clId="Web-{D47C8919-760F-0FC7-5D0A-1348D69C0C23}" dt="2025-03-18T11:13:04.973" v="3" actId="20577"/>
      <pc:docMkLst>
        <pc:docMk/>
      </pc:docMkLst>
      <pc:sldChg chg="modSp">
        <pc:chgData name="Huber.Vanessa GR" userId="S::huber.vanessa@swm.de::30bf8bd0-fa6f-4906-9504-786ecee7ad9f" providerId="AD" clId="Web-{D47C8919-760F-0FC7-5D0A-1348D69C0C23}" dt="2025-03-18T11:13:04.973" v="3" actId="20577"/>
        <pc:sldMkLst>
          <pc:docMk/>
          <pc:sldMk cId="2584431473" sldId="368"/>
        </pc:sldMkLst>
        <pc:spChg chg="mod">
          <ac:chgData name="Huber.Vanessa GR" userId="S::huber.vanessa@swm.de::30bf8bd0-fa6f-4906-9504-786ecee7ad9f" providerId="AD" clId="Web-{D47C8919-760F-0FC7-5D0A-1348D69C0C23}" dt="2025-03-18T11:13:04.973" v="3" actId="20577"/>
          <ac:spMkLst>
            <pc:docMk/>
            <pc:sldMk cId="2584431473" sldId="368"/>
            <ac:spMk id="9" creationId="{DCD6C598-C81E-D0E2-C3DF-BA769F3AD7C0}"/>
          </ac:spMkLst>
        </pc:spChg>
      </pc:sldChg>
    </pc:docChg>
  </pc:docChgLst>
</pc:chgInfo>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3-19T14:53:21.003"/>
    </inkml:context>
    <inkml:brush xml:id="br0">
      <inkml:brushProperty name="width" value="0.1" units="cm"/>
      <inkml:brushProperty name="height" value="0.1" units="cm"/>
      <inkml:brushProperty name="color" value="#1B4F8F"/>
    </inkml:brush>
  </inkml:definitions>
  <inkml:trace contextRef="#ctx0" brushRef="#br0">18870 7248 16383 0 0,'4'0'0'0'0,"7"0"0"0"0,6 0 0 0 0,3 0 0 0 0,5 0 0 0 0,2 0 0 0 0,0 0 0 0 0,-2 0 0 0 0,-1 0 0 0 0,-2 0 0 0 0,3 0 0 0 0,0 0 0 0 0,0 0 0 0 0,9 0 0 0 0,5 0 0 0 0,4 0 0 0 0,4 0 0 0 0,-3 0 0 0 0,-1 0 0 0 0,-5 0 0 0 0,-5 0 0 0 0,-5 0 0 0 0,-1 0 0 0 0,-1 0 0 0 0,-1 0 0 0 0,-3 0 0 0 0,0 0 0 0 0,6 0 0 0 0,1 0 0 0 0,3 0 0 0 0,-1 0 0 0 0,-1 0 0 0 0,-1 0 0 0 0,0 0 0 0 0,-2 0 0 0 0,-3 0 0 0 0,-1 0 0 0 0,-2 0 0 0 0,3 0 0 0 0,1 0 0 0 0,-1 0 0 0 0,-1 0 0 0 0,-1 0 0 0 0,0 0 0 0 0,-2 0 0 0 0,1 0 0 0 0,-1 0 0 0 0,0 0 0 0 0,3 0 0 0 0,2 0 0 0 0,-1 0 0 0 0,0 0 0 0 0,-2 0 0 0 0,0 0 0 0 0,2 0 0 0 0,2 0 0 0 0,-2 0 0 0 0,3 0 0 0 0,0 0 0 0 0,-1 0 0 0 0,-2 0 0 0 0,-1 0 0 0 0,-1 0 0 0 0,2 0 0 0 0,1 0 0 0 0,-1 0 0 0 0,3 0 0 0 0,0 0 0 0 0,-1 0 0 0 0,1 0 0 0 0,1 0 0 0 0,1-3 0 0 0,0-2 0 0 0,2-3 0 0 0,-2 0 0 0 0,-1 1 0 0 0,-3 2 0 0 0,-5-1 0 0 0,0-1 0 0 0,5-2 0 0 0,4 1 0 0 0,0 2 0 0 0,-4-3 0 0 0,-3 2 0 0 0,-2-2 0 0 0,-1 0 0 0 0,0-1 0 0 0,0 0 0 0 0,0 3 0 0 0,1 2 0 0 0,0-2 0 0 0,0-2 0 0 0,0 0 0 0 0,0 1 0 0 0,0-1 0 0 0,4-3 0 0 0,4-2 0 0 0,1 1 0 0 0,-4-1 0 0 0,-4-2 0 0 0,-1 3 0 0 0,-4 0 0 0 0,1 1 0 0 0,2 4 0 0 0,-2-1 0 0 0,2-2 0 0 0,2 1 0 0 0,1 2 0 0 0,-1 2 0 0 0,4-1 0 0 0,1-3 0 0 0,-1-3 0 0 0,3 1 0 0 0,-1 2 0 0 0,9 0 0 0 0,6-3 0 0 0,-2 2 0 0 0,-3 2 0 0 0,-5 0 0 0 0,-5 1 0 0 0,0-2 0 0 0,3-2 0 0 0,3-3 0 0 0,-2-2 0 0 0,-1 2 0 0 0,-3 0 0 0 0,-3 2 0 0 0,-5 1 0 0 0,-2 1 0 0 0,-2 0 0 0 0,2 2 0 0 0,0 2 0 0 0,1-1 0 0 0,-3-3 0 0 0,4-2 0 0 0,8 0 0 0 0,3-4 0 0 0,-3-3 0 0 0,-4-1 0 0 0,-1 3 0 0 0,-2 4 0 0 0,0 5 0 0 0,3 4 0 0 0,1-4 0 0 0,0-4 0 0 0,-1-4 0 0 0,-1 2 0 0 0,0 3 0 0 0,-1 1 0 0 0,-1-3 0 0 0,1 3 0 0 0,-1 2 0 0 0,-4 0 0 0 0,3 1 0 0 0,1 2 0 0 0,5-2 0 0 0,0 1 0 0 0,1-1 0 0 0,-2-1 0 0 0,-1-1 0 0 0,3-2 0 0 0,-1-4 0 0 0,4-1 0 0 0,-1-2 0 0 0,2 3 0 0 0,0 0 0 0 0,-3 3 0 0 0,-1 0 0 0 0,-3 3 0 0 0,-1-1 0 0 0,2-2 0 0 0,1 2 0 0 0,-1 2 0 0 0,-4-1 0 0 0,1 2 0 0 0,0-1 0 0 0,-3-3 0 0 0,-1 0 0 0 0,3 3 0 0 0,-1 0 0 0 0,-1 0 0 0 0,-1-1 0 0 0,2 2 0 0 0,3-3 0 0 0,2-1 0 0 0,0 0 0 0 0,0-1 0 0 0,-2 2 0 0 0,3 3 0 0 0,4-1 0 0 0,1 1 0 0 0,-2-1 0 0 0,-2-3 0 0 0,-2 1 0 0 0,2 2 0 0 0,0 3 0 0 0,-2-1 0 0 0,0 0 0 0 0,-2 2 0 0 0,-1 1 0 0 0,3-5 0 0 0,5-4 0 0 0,10-1 0 0 0,-1 0 0 0 0,3 1 0 0 0,2 3 0 0 0,3 0 0 0 0,-5-1 0 0 0,-7-3 0 0 0,-2 1 0 0 0,-4 3 0 0 0,-2 3 0 0 0,-3 2 0 0 0,-1 0 0 0 0,-2 0 0 0 0,4-7 0 0 0,0 0 0 0 0,0 2 0 0 0,-1 2 0 0 0,-1 2 0 0 0,3 0 0 0 0,0 0 0 0 0,0 1 0 0 0,2-2 0 0 0,4-6 0 0 0,-1-2 0 0 0,-1 3 0 0 0,-3 2 0 0 0,-2 4 0 0 0,-1-1 0 0 0,-2 1 0 0 0,-1 1 0 0 0,0 2 0 0 0,0 1 0 0 0,-1 1 0 0 0,1 1 0 0 0,0 0 0 0 0,0 0 0 0 0,3-3 0 0 0,2-1 0 0 0,0-1 0 0 0,-5-1 0 0 0,-2-5 0 0 0,-1 1 0 0 0,1 1 0 0 0,3 3 0 0 0,6-2 0 0 0,4 2 0 0 0,2-3 0 0 0,-3 1 0 0 0,-2 1 0 0 0,-3 2 0 0 0,-2 3 0 0 0,-2 0 0 0 0,-1-2 0 0 0,0 0 0 0 0,0-1 0 0 0,0 2 0 0 0,-1-2 0 0 0,1-1 0 0 0,0-2 0 0 0,0-1 0 0 0,4 3 0 0 0,7 1 0 0 0,10-5 0 0 0,0-5 0 0 0,-2 1 0 0 0,-2 0 0 0 0,-4 1 0 0 0,-3 0 0 0 0,-4 2 0 0 0,-3 3 0 0 0,-2 3 0 0 0,-4-2 0 0 0,-2-2 0 0 0,4 0 0 0 0,1 1 0 0 0,1 3 0 0 0,1-2 0 0 0,0 1 0 0 0,-1-3 0 0 0,-4-2 0 0 0,3-1 0 0 0,1 3 0 0 0,3 3 0 0 0,2 2 0 0 0,-1 2 0 0 0,6 1 0 0 0,2 1 0 0 0,4 0 0 0 0,0 1 0 0 0,-3-1 0 0 0,0 1 0 0 0,-3-1 0 0 0,-3 0 0 0 0,1 0 0 0 0,-2 0 0 0 0,-1 0 0 0 0,-2 0 0 0 0,-2-3 0 0 0,-1-2 0 0 0,3 1 0 0 0,0 0 0 0 0,0 2 0 0 0,0 0 0 0 0,-2-2 0 0 0,3-1 0 0 0,0 1 0 0 0,4 0 0 0 0,-1 2 0 0 0,-1 1 0 0 0,-2 0 0 0 0,-2-3 0 0 0,2 0 0 0 0,1-4 0 0 0,-2 0 0 0 0,0 2 0 0 0,-2 1 0 0 0,-1 2 0 0 0,0 1 0 0 0,-4-2 0 0 0,-2-1 0 0 0,1 1 0 0 0,0 1 0 0 0,5 0 0 0 0,2 2 0 0 0,1 1 0 0 0,-1-1 0 0 0,0 1 0 0 0,-1 1 0 0 0,2-1 0 0 0,2 0 0 0 0,2-3 0 0 0,3-5 0 0 0,8-1 0 0 0,2 1 0 0 0,10 2 0 0 0,-2 2 0 0 0,-1 2 0 0 0,-3-3 0 0 0,-5 0 0 0 0,-3 1 0 0 0,-4 1 0 0 0,-8-3 0 0 0,-1 1 0 0 0,-1 0 0 0 0,-1 1 0 0 0,-1 2 0 0 0,2 0 0 0 0,9 2 0 0 0,1 0 0 0 0,-1 0 0 0 0,1 0 0 0 0,-2 0 0 0 0,-3 0 0 0 0,1 1 0 0 0,-1-1 0 0 0,2 0 0 0 0,-2 0 0 0 0,2-7 0 0 0,0-2 0 0 0,-7-3 0 0 0,-2 0 0 0 0,-2 3 0 0 0,-1 2 0 0 0,0 3 0 0 0,1 2 0 0 0,6 1 0 0 0,4 1 0 0 0,6 0 0 0 0,12 1 0 0 0,4-1 0 0 0,0 1 0 0 0,-5-1 0 0 0,-6 0 0 0 0,-11-3 0 0 0,-3-2 0 0 0,-3 1 0 0 0,-1-6 0 0 0,1-2 0 0 0,2 2 0 0 0,-1 2 0 0 0,-1 3 0 0 0,-1 1 0 0 0,-1 3 0 0 0,0 0 0 0 0,-1 2 0 0 0,0-1 0 0 0,0 1 0 0 0,4-1 0 0 0,0 0 0 0 0,7 1 0 0 0,2-1 0 0 0,-2 0 0 0 0,1 0 0 0 0,-1 0 0 0 0,-3 0 0 0 0,-3 0 0 0 0,-2 0 0 0 0,-1 0 0 0 0,2 0 0 0 0,0 0 0 0 0,0 0 0 0 0,3 0 0 0 0,0 0 0 0 0,5 0 0 0 0,5 0 0 0 0,3 0 0 0 0,-3 0 0 0 0,-3 0 0 0 0,-5 0 0 0 0,-3 0 0 0 0,-3 0 0 0 0,1 0 0 0 0,1 0 0 0 0,-1 0 0 0 0,2 0 0 0 0,0 0 0 0 0,3 0 0 0 0,0 0 0 0 0,-2 0 0 0 0,1 0 0 0 0,0 0 0 0 0,5 0 0 0 0,1 0 0 0 0,-3 0 0 0 0,1 0 0 0 0,-2 0 0 0 0,-2 0 0 0 0,-3 0 0 0 0,-2 0 0 0 0,-2 0 0 0 0,3 0 0 0 0,0 0 0 0 0,0 0 0 0 0,3 0 0 0 0,0 0 0 0 0,-1 0 0 0 0,-2 0 0 0 0,-1 0 0 0 0,-2 0 0 0 0,4 0 0 0 0,-1 0 0 0 0,1 0 0 0 0,2 0 0 0 0,-1 0 0 0 0,0 0 0 0 0,-1 0 0 0 0,-3-4 0 0 0,0 0 0 0 0,6-4 0 0 0,1 0 0 0 0,3 1 0 0 0,0 2 0 0 0,-3 2 0 0 0,-3 1 0 0 0,-1 1 0 0 0,-3 1 0 0 0,-1 0 0 0 0,-1 0 0 0 0,0 1 0 0 0,-1-1 0 0 0,4 0 0 0 0,2 0 0 0 0,-1 0 0 0 0,-1 0 0 0 0,0 0 0 0 0,2 0 0 0 0,4 0 0 0 0,0 0 0 0 0,-1 0 0 0 0,-1 0 0 0 0,-3 0 0 0 0,-2 0 0 0 0,6 0 0 0 0,12 0 0 0 0,16 0 0 0 0,5 0 0 0 0,7 0 0 0 0,-6 0 0 0 0,-6 0 0 0 0,-9 0 0 0 0,-6 0 0 0 0,-3 0 0 0 0,6 7 0 0 0,6 6 0 0 0,-3 0 0 0 0,2 5 0 0 0,-5 0 0 0 0,-6-4 0 0 0,-6 0 0 0 0,-2 0 0 0 0,-2-1 0 0 0,-6-1 0 0 0,-4-1 0 0 0,6 0 0 0 0,2 2 0 0 0,0-1 0 0 0,-1-3 0 0 0,-1-3 0 0 0,-1 2 0 0 0,2 1 0 0 0,3 1 0 0 0,15 1 0 0 0,14 6 0 0 0,10 0 0 0 0,4 0 0 0 0,-2-2 0 0 0,-4-4 0 0 0,-12 0 0 0 0,-12-3 0 0 0,-6 2 0 0 0,-9 2 0 0 0,-5-1 0 0 0,0 1 0 0 0,3 2 0 0 0,6 2 0 0 0,-1 2 0 0 0,0-3 0 0 0,-3 0 0 0 0,-1 1 0 0 0,-3-2 0 0 0,3 0 0 0 0,0-3 0 0 0,-4 0 0 0 0,-2-1 0 0 0,2 1 0 0 0,-2 1 0 0 0,2 0 0 0 0,5 0 0 0 0,-2-1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C8E9D-BC17-4BEF-8119-3CC318C25B5C}" type="datetimeFigureOut">
              <a:rPr lang="de-DE" smtClean="0"/>
              <a:t>19.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A2D37F-8FD5-494E-BDD6-0D901936922B}" type="slidenum">
              <a:rPr lang="de-DE" smtClean="0"/>
              <a:t>‹Nr.›</a:t>
            </a:fld>
            <a:endParaRPr lang="de-DE"/>
          </a:p>
        </p:txBody>
      </p:sp>
    </p:spTree>
    <p:extLst>
      <p:ext uri="{BB962C8B-B14F-4D97-AF65-F5344CB8AC3E}">
        <p14:creationId xmlns:p14="http://schemas.microsoft.com/office/powerpoint/2010/main" val="30053771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pPr>
              <a:lnSpc>
                <a:spcPct val="107000"/>
              </a:lnSpc>
              <a:spcAft>
                <a:spcPts val="800"/>
              </a:spcAft>
            </a:pPr>
            <a:r>
              <a:rPr lang="en-US" sz="1800" kern="100">
                <a:effectLst/>
                <a:latin typeface="Calibri" panose="020F0502020204030204" pitchFamily="34" charset="0"/>
                <a:ea typeface="Calibri" panose="020F0502020204030204" pitchFamily="34" charset="0"/>
                <a:cs typeface="Times New Roman" panose="02020603050405020304" pitchFamily="18" charset="0"/>
              </a:rPr>
              <a:t>Our mission: </a:t>
            </a:r>
            <a:r>
              <a:rPr lang="en-US" sz="1800" b="1" kern="100">
                <a:effectLst/>
                <a:latin typeface="Calibri" panose="020F0502020204030204" pitchFamily="34" charset="0"/>
                <a:ea typeface="Calibri" panose="020F0502020204030204" pitchFamily="34" charset="0"/>
                <a:cs typeface="Times New Roman" panose="02020603050405020304" pitchFamily="18" charset="0"/>
              </a:rPr>
              <a:t>We keep Munich running around the clock.</a:t>
            </a:r>
          </a:p>
          <a:p>
            <a:pPr>
              <a:lnSpc>
                <a:spcPct val="107000"/>
              </a:lnSpc>
              <a:spcAft>
                <a:spcPts val="800"/>
              </a:spcAft>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US" sz="1800" kern="100">
                <a:effectLst/>
                <a:latin typeface="Calibri" panose="020F0502020204030204" pitchFamily="34" charset="0"/>
                <a:ea typeface="Calibri" panose="020F0502020204030204" pitchFamily="34" charset="0"/>
                <a:cs typeface="Times New Roman" panose="02020603050405020304" pitchFamily="18" charset="0"/>
              </a:rPr>
              <a:t>For many decades, we have supplied the people of Munich with energy (electricity, gas, heating, cooling) and drinking water from the foothills of the Bavarian Alps. We are a pioneer of renewable energy technologies (incl. solar, wind and geothermal). Our services also include customized energy solutions (e.g. photovoltaic installations, charging solutions and heat pumps), network management for energy and water networks, distribution and sales. </a:t>
            </a:r>
          </a:p>
          <a:p>
            <a:pPr marL="342900" lvl="0" indent="-342900">
              <a:lnSpc>
                <a:spcPct val="107000"/>
              </a:lnSpc>
              <a:spcAft>
                <a:spcPts val="800"/>
              </a:spcAft>
              <a:buFont typeface="Arial" panose="020B0604020202020204" pitchFamily="34" charset="0"/>
              <a:buChar char="•"/>
              <a:tabLst>
                <a:tab pos="457200" algn="l"/>
              </a:tabLst>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are committed to providing modern, environmentally compatible mobility services in Munich through our subsidiary, MVG – with local public transport services (underground, bus and tram) as well as intelligent mobility concepts and increasingly customized services (MVG Rad, MVGO). And, of course, we are driving e-mobility forward (M-</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Ladelösung</a:t>
            </a:r>
            <a:r>
              <a:rPr lang="en-US" sz="1800" kern="100">
                <a:effectLst/>
                <a:latin typeface="Calibri" panose="020F0502020204030204" pitchFamily="34" charset="0"/>
                <a:ea typeface="Calibri" panose="020F0502020204030204" pitchFamily="34" charset="0"/>
                <a:cs typeface="Times New Roman" panose="02020603050405020304" pitchFamily="18" charset="0"/>
              </a:rPr>
              <a:t>, public charging stations).</a:t>
            </a:r>
          </a:p>
          <a:p>
            <a:pPr marL="342900" lvl="0" indent="-342900">
              <a:lnSpc>
                <a:spcPct val="107000"/>
              </a:lnSpc>
              <a:spcAft>
                <a:spcPts val="800"/>
              </a:spcAft>
              <a:buFont typeface="Arial" panose="020B0604020202020204" pitchFamily="34" charset="0"/>
              <a:buChar char="•"/>
              <a:tabLst>
                <a:tab pos="457200" algn="l"/>
              </a:tabLst>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are expanding the fiber-optic network in Munich through our telecommunications subsidiary, M-net.</a:t>
            </a:r>
          </a:p>
          <a:p>
            <a:pPr marL="342900" lvl="0" indent="-342900">
              <a:lnSpc>
                <a:spcPct val="107000"/>
              </a:lnSpc>
              <a:spcAft>
                <a:spcPts val="800"/>
              </a:spcAft>
              <a:buFont typeface="Arial" panose="020B0604020202020204" pitchFamily="34" charset="0"/>
              <a:buChar char="•"/>
              <a:tabLst>
                <a:tab pos="457200" algn="l"/>
              </a:tabLst>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457200" algn="l"/>
              </a:tabLst>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offer one of the most advanced public pool systems in Germany, with 18 public pools (incl. indoor and outdoor) as well as 10 saunas. In addition, we operate an ice-skating center and two fitness and leisure centers. </a:t>
            </a:r>
          </a:p>
          <a:p>
            <a:pPr marL="342900" lvl="0" indent="-342900">
              <a:lnSpc>
                <a:spcPct val="107000"/>
              </a:lnSpc>
              <a:spcAft>
                <a:spcPts val="800"/>
              </a:spcAft>
              <a:buFont typeface="Arial" panose="020B0604020202020204" pitchFamily="34" charset="0"/>
              <a:buChar char="•"/>
              <a:tabLst>
                <a:tab pos="457200" algn="l"/>
              </a:tabLst>
            </a:pP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spcAft>
                <a:spcPts val="800"/>
              </a:spcAft>
              <a:buFont typeface="Arial" panose="020B0604020202020204" pitchFamily="34" charset="0"/>
              <a:buNone/>
              <a:tabLst>
                <a:tab pos="457200" algn="l"/>
              </a:tabLst>
            </a:pPr>
            <a:r>
              <a:rPr lang="en-US" sz="1800" kern="100">
                <a:effectLst/>
                <a:latin typeface="Calibri" panose="020F0502020204030204" pitchFamily="34" charset="0"/>
                <a:ea typeface="Calibri" panose="020F0502020204030204" pitchFamily="34" charset="0"/>
                <a:cs typeface="Times New Roman" panose="02020603050405020304" pitchFamily="18" charset="0"/>
              </a:rPr>
              <a:t>In total, we provide fundamental services for the people of Munich and perform vital tasks in shaping the city’s future. </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914400" rtl="0" eaLnBrk="1" fontAlgn="auto" latinLnBrk="0" hangingPunct="1">
              <a:lnSpc>
                <a:spcPct val="100000"/>
              </a:lnSpc>
              <a:spcBef>
                <a:spcPts val="0"/>
              </a:spcBef>
              <a:spcAft>
                <a:spcPts val="0"/>
              </a:spcAft>
              <a:buClrTx/>
              <a:buSzTx/>
              <a:buFont typeface="Wingdings 3" panose="05040102010807070707" pitchFamily="18" charset="2"/>
              <a:buNone/>
              <a:tabLst/>
              <a:defRPr/>
            </a:pPr>
            <a:endParaRPr lang="de-DE" sz="2000" baseline="0">
              <a:latin typeface="+mn-lt"/>
              <a:cs typeface="Arial" panose="020B0604020202020204" pitchFamily="34" charset="0"/>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47A7E-DA71-F746-A9AB-E6198F999487}" type="slidenum">
              <a:rPr kumimoji="0" lang="de-D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15267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400" y="744538"/>
            <a:ext cx="6618288" cy="3722687"/>
          </a:xfrm>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247A7E-DA71-F746-A9AB-E6198F999487}" type="slidenum">
              <a:rPr kumimoji="0" lang="de-DE"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6285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9950" y="668338"/>
            <a:ext cx="5057775" cy="2844800"/>
          </a:xfrm>
        </p:spPr>
      </p:sp>
      <p:sp>
        <p:nvSpPr>
          <p:cNvPr id="3" name="Notizenplatzhalter 2"/>
          <p:cNvSpPr>
            <a:spLocks noGrp="1"/>
          </p:cNvSpPr>
          <p:nvPr>
            <p:ph type="body" idx="1"/>
          </p:nvPr>
        </p:nvSpPr>
        <p:spPr/>
        <p:txBody>
          <a:bodyPr/>
          <a:lstStyle/>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SWM operates a district heating network comprising around 950 kilometers of pipelines. Today, it is already supplyin</a:t>
            </a:r>
            <a:r>
              <a:rPr lang="en-US" sz="1800" kern="100">
                <a:latin typeface="Calibri" panose="020F0502020204030204" pitchFamily="34" charset="0"/>
                <a:ea typeface="Calibri" panose="020F0502020204030204" pitchFamily="34" charset="0"/>
                <a:cs typeface="Times New Roman" panose="02020603050405020304" pitchFamily="18" charset="0"/>
              </a:rPr>
              <a:t>g </a:t>
            </a:r>
            <a:r>
              <a:rPr lang="en-US" sz="1800" kern="100">
                <a:effectLst/>
                <a:latin typeface="Calibri" panose="020F0502020204030204" pitchFamily="34" charset="0"/>
                <a:ea typeface="Calibri" panose="020F0502020204030204" pitchFamily="34" charset="0"/>
                <a:cs typeface="Times New Roman" panose="02020603050405020304" pitchFamily="18" charset="0"/>
              </a:rPr>
              <a:t>environmentally friendly heat to many households. When it comes to deep geothermal energy, Munich enjoys more favorable natural conditions than almost anywhere else in Germany. </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already operate six geothermal plants in and around Munich and continue to expand our geothermal portfolio. For example, we are currently planning to construct further geothermal plants, including on the edge of the premises of Munich’s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Michaelibad</a:t>
            </a:r>
            <a:r>
              <a:rPr lang="en-US" sz="1800" kern="100">
                <a:effectLst/>
                <a:latin typeface="Calibri" panose="020F0502020204030204" pitchFamily="34" charset="0"/>
                <a:ea typeface="Calibri" panose="020F0502020204030204" pitchFamily="34" charset="0"/>
                <a:cs typeface="Times New Roman" panose="02020603050405020304" pitchFamily="18" charset="0"/>
              </a:rPr>
              <a:t> (public pool complex). This seventh geothermal plant is set to start operation in 2034 and generate enough heat to supply more than 75,000 Munich citizens. </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are further augmenting the potential of deep geothermal energy by deploying large-scale heat pumps, which further cool the return flow in district heating networks and thereby enhance the output from geothermal boreholes. Plans for the first large-scale heat pump at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Michaelibad</a:t>
            </a:r>
            <a:r>
              <a:rPr lang="en-US" sz="1800" kern="100">
                <a:effectLst/>
                <a:latin typeface="Calibri" panose="020F0502020204030204" pitchFamily="34" charset="0"/>
                <a:ea typeface="Calibri" panose="020F0502020204030204" pitchFamily="34" charset="0"/>
                <a:cs typeface="Times New Roman" panose="02020603050405020304" pitchFamily="18" charset="0"/>
              </a:rPr>
              <a:t> are currently being drawn up.</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274FE826-11B8-9D46-8774-BA5EE696DB9F}" type="slidenum">
              <a:rPr lang="de-DE" smtClean="0"/>
              <a:t>4</a:t>
            </a:fld>
            <a:endParaRPr lang="de-DE"/>
          </a:p>
        </p:txBody>
      </p:sp>
    </p:spTree>
    <p:extLst>
      <p:ext uri="{BB962C8B-B14F-4D97-AF65-F5344CB8AC3E}">
        <p14:creationId xmlns:p14="http://schemas.microsoft.com/office/powerpoint/2010/main" val="13944564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5850" y="619125"/>
            <a:ext cx="4686300" cy="2635250"/>
          </a:xfrm>
        </p:spPr>
      </p:sp>
      <p:sp>
        <p:nvSpPr>
          <p:cNvPr id="3" name="Notizenplatzhalter 2"/>
          <p:cNvSpPr>
            <a:spLocks noGrp="1"/>
          </p:cNvSpPr>
          <p:nvPr>
            <p:ph type="body" idx="1"/>
          </p:nvPr>
        </p:nvSpPr>
        <p:spPr/>
        <p:txBody>
          <a:bodyPr/>
          <a:lstStyle/>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Conventional energy generation sourcing fossil fuels will decrease over time and will make district heating “greener” as a result. Heat from geothermal energy and, to a lesser extent, from heat pumps, are important building blocks in this process. Biomass plays a somewhat smaller role.</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Nevertheless, waste incineration will continue to play an important role in district heating (accounting for around one-fifth of generation). In the future, the CO</a:t>
            </a:r>
            <a:r>
              <a:rPr lang="en-US" sz="1800" kern="100" baseline="-25000">
                <a:effectLst/>
                <a:latin typeface="Calibri" panose="020F0502020204030204" pitchFamily="34" charset="0"/>
                <a:ea typeface="Calibri" panose="020F0502020204030204" pitchFamily="34" charset="0"/>
                <a:cs typeface="Times New Roman" panose="02020603050405020304" pitchFamily="18" charset="0"/>
              </a:rPr>
              <a:t>2</a:t>
            </a:r>
            <a:r>
              <a:rPr lang="en-US" sz="1800" kern="100">
                <a:effectLst/>
                <a:latin typeface="Calibri" panose="020F0502020204030204" pitchFamily="34" charset="0"/>
                <a:ea typeface="Calibri" panose="020F0502020204030204" pitchFamily="34" charset="0"/>
                <a:cs typeface="Times New Roman" panose="02020603050405020304" pitchFamily="18" charset="0"/>
              </a:rPr>
              <a:t> produced through the so-called “thermal conversion” of waste – which cannot be fully avoided – will have to be captured and stored in accordance with statutory regulations.</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Looking to the long term, SWM is making plans to use (green) hydrogen in its central generation facilities (heating plants and CHP plants) and is currently examining the necessary retrofitting measures. Hydrogen therefore has the potential to replace natural gas in heat generation processes – provided that it is available in sufficient quantities.</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E7247A7E-DA71-F746-A9AB-E6198F999487}" type="slidenum">
              <a:rPr lang="de-DE" smtClean="0"/>
              <a:t>6</a:t>
            </a:fld>
            <a:endParaRPr lang="de-DE"/>
          </a:p>
        </p:txBody>
      </p:sp>
    </p:spTree>
    <p:extLst>
      <p:ext uri="{BB962C8B-B14F-4D97-AF65-F5344CB8AC3E}">
        <p14:creationId xmlns:p14="http://schemas.microsoft.com/office/powerpoint/2010/main" val="1738251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he transformation plan is a comprehensive package of measures to restructure and expand the district heating system in Munich. It provides for the densification and expansion of the district heating network as well as the decarbonisation of district heating generation, primarily with the help of </a:t>
            </a:r>
            <a:r>
              <a:rPr lang="de-DE" err="1"/>
              <a:t>geothermal plants</a:t>
            </a:r>
            <a:r>
              <a:rPr lang="de-DE"/>
              <a:t>. Heat pumps, two biomass cogeneration plants, downstream plants for thermal waste treatment and the conversion of existing CHP plants to hydrogen are also part of the district heating conversion. </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BDB4FD-6184-4840-AEA4-BFFC6515C75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199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69950" y="668338"/>
            <a:ext cx="5057775" cy="2844800"/>
          </a:xfrm>
        </p:spPr>
      </p:sp>
      <p:sp>
        <p:nvSpPr>
          <p:cNvPr id="3" name="Notizenplatzhalter 2"/>
          <p:cNvSpPr>
            <a:spLocks noGrp="1"/>
          </p:cNvSpPr>
          <p:nvPr>
            <p:ph type="body" idx="1"/>
          </p:nvPr>
        </p:nvSpPr>
        <p:spPr/>
        <p:txBody>
          <a:bodyPr/>
          <a:lstStyle/>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SWM operates a district heating network comprising around 950 kilometers of pipelines. Today, it is already supplyin</a:t>
            </a:r>
            <a:r>
              <a:rPr lang="en-US" sz="1800" kern="100">
                <a:latin typeface="Calibri" panose="020F0502020204030204" pitchFamily="34" charset="0"/>
                <a:ea typeface="Calibri" panose="020F0502020204030204" pitchFamily="34" charset="0"/>
                <a:cs typeface="Times New Roman" panose="02020603050405020304" pitchFamily="18" charset="0"/>
              </a:rPr>
              <a:t>g </a:t>
            </a:r>
            <a:r>
              <a:rPr lang="en-US" sz="1800" kern="100">
                <a:effectLst/>
                <a:latin typeface="Calibri" panose="020F0502020204030204" pitchFamily="34" charset="0"/>
                <a:ea typeface="Calibri" panose="020F0502020204030204" pitchFamily="34" charset="0"/>
                <a:cs typeface="Times New Roman" panose="02020603050405020304" pitchFamily="18" charset="0"/>
              </a:rPr>
              <a:t>environmentally friendly heat to many households. When it comes to deep geothermal energy, Munich enjoys more favorable natural conditions than almost anywhere else in Germany. </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already operate six geothermal plants in and around Munich and continue to expand our geothermal portfolio. For example, we are currently planning to construct further geothermal plants, including on the edge of the premises of Munich’s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Michaelibad</a:t>
            </a:r>
            <a:r>
              <a:rPr lang="en-US" sz="1800" kern="100">
                <a:effectLst/>
                <a:latin typeface="Calibri" panose="020F0502020204030204" pitchFamily="34" charset="0"/>
                <a:ea typeface="Calibri" panose="020F0502020204030204" pitchFamily="34" charset="0"/>
                <a:cs typeface="Times New Roman" panose="02020603050405020304" pitchFamily="18" charset="0"/>
              </a:rPr>
              <a:t> (public pool complex). This seventh geothermal plant is set to start operation in 2034 and generate enough heat to supply more than 75,000 Munich citizens. </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US" sz="1800" kern="100">
                <a:effectLst/>
                <a:latin typeface="Calibri" panose="020F0502020204030204" pitchFamily="34" charset="0"/>
                <a:ea typeface="Calibri" panose="020F0502020204030204" pitchFamily="34" charset="0"/>
                <a:cs typeface="Times New Roman" panose="02020603050405020304" pitchFamily="18" charset="0"/>
              </a:rPr>
              <a:t>We are further augmenting the potential of deep geothermal energy by deploying large-scale heat pumps, which further cool the return flow in district heating networks and thereby enhance the output from geothermal boreholes. Plans for the first large-scale heat pump at </a:t>
            </a:r>
            <a:r>
              <a:rPr lang="en-US" sz="1800" kern="100" err="1">
                <a:effectLst/>
                <a:latin typeface="Calibri" panose="020F0502020204030204" pitchFamily="34" charset="0"/>
                <a:ea typeface="Calibri" panose="020F0502020204030204" pitchFamily="34" charset="0"/>
                <a:cs typeface="Times New Roman" panose="02020603050405020304" pitchFamily="18" charset="0"/>
              </a:rPr>
              <a:t>Michaelibad</a:t>
            </a:r>
            <a:r>
              <a:rPr lang="en-US" sz="1800" kern="100">
                <a:effectLst/>
                <a:latin typeface="Calibri" panose="020F0502020204030204" pitchFamily="34" charset="0"/>
                <a:ea typeface="Calibri" panose="020F0502020204030204" pitchFamily="34" charset="0"/>
                <a:cs typeface="Times New Roman" panose="02020603050405020304" pitchFamily="18" charset="0"/>
              </a:rPr>
              <a:t> are currently being drawn up.</a:t>
            </a:r>
            <a:endParaRPr lang="en-GB" sz="1800" kern="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274FE826-11B8-9D46-8774-BA5EE696DB9F}" type="slidenum">
              <a:rPr lang="de-DE" smtClean="0"/>
              <a:t>8</a:t>
            </a:fld>
            <a:endParaRPr lang="de-DE"/>
          </a:p>
        </p:txBody>
      </p:sp>
    </p:spTree>
    <p:extLst>
      <p:ext uri="{BB962C8B-B14F-4D97-AF65-F5344CB8AC3E}">
        <p14:creationId xmlns:p14="http://schemas.microsoft.com/office/powerpoint/2010/main" val="2266646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085850" y="619125"/>
            <a:ext cx="4686300" cy="26352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E7247A7E-DA71-F746-A9AB-E6198F999487}" type="slidenum">
              <a:rPr lang="de-DE" smtClean="0"/>
              <a:t>10</a:t>
            </a:fld>
            <a:endParaRPr lang="de-DE"/>
          </a:p>
        </p:txBody>
      </p:sp>
    </p:spTree>
    <p:extLst>
      <p:ext uri="{BB962C8B-B14F-4D97-AF65-F5344CB8AC3E}">
        <p14:creationId xmlns:p14="http://schemas.microsoft.com/office/powerpoint/2010/main" val="19094395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5.jpeg"/><Relationship Id="rId9" Type="http://schemas.openxmlformats.org/officeDocument/2006/relationships/image" Target="../media/image4.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9.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8.png"/><Relationship Id="rId9" Type="http://schemas.openxmlformats.org/officeDocument/2006/relationships/image" Target="../media/image13.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image" Target="../media/image14.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3.jpe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8.png"/><Relationship Id="rId9" Type="http://schemas.openxmlformats.org/officeDocument/2006/relationships/image" Target="../media/image4.jpeg"/></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Master" Target="../slideMasters/slideMaster2.xml"/><Relationship Id="rId7" Type="http://schemas.openxmlformats.org/officeDocument/2006/relationships/oleObject" Target="../embeddings/oleObject18.bin"/><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8.png"/></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9.jpeg"/></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2.xml"/><Relationship Id="rId1" Type="http://schemas.openxmlformats.org/officeDocument/2006/relationships/tags" Target="../tags/tag6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jpe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14.jpe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image" Target="../media/image10.jpe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2.xml"/><Relationship Id="rId5" Type="http://schemas.openxmlformats.org/officeDocument/2006/relationships/image" Target="../media/image24.png"/><Relationship Id="rId4" Type="http://schemas.openxmlformats.org/officeDocument/2006/relationships/image" Target="../media/image30.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24.png"/><Relationship Id="rId4" Type="http://schemas.openxmlformats.org/officeDocument/2006/relationships/image" Target="../media/image31.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3.jpeg"/><Relationship Id="rId1" Type="http://schemas.openxmlformats.org/officeDocument/2006/relationships/slideMaster" Target="../slideMasters/slideMaster2.xml"/><Relationship Id="rId4" Type="http://schemas.openxmlformats.org/officeDocument/2006/relationships/image" Target="../media/image3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5.jpeg"/><Relationship Id="rId1" Type="http://schemas.openxmlformats.org/officeDocument/2006/relationships/slideMaster" Target="../slideMasters/slideMaster2.xml"/><Relationship Id="rId4" Type="http://schemas.openxmlformats.org/officeDocument/2006/relationships/image" Target="../media/image36.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7.pn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29.svg"/><Relationship Id="rId4" Type="http://schemas.openxmlformats.org/officeDocument/2006/relationships/image" Target="../media/image28.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11.jpe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9.jpeg"/><Relationship Id="rId1" Type="http://schemas.openxmlformats.org/officeDocument/2006/relationships/slideMaster" Target="../slideMasters/slideMaster2.xml"/><Relationship Id="rId4" Type="http://schemas.openxmlformats.org/officeDocument/2006/relationships/image" Target="../media/image40.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0.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41.emf"/><Relationship Id="rId4" Type="http://schemas.openxmlformats.org/officeDocument/2006/relationships/oleObject" Target="../embeddings/oleObject22.bin"/></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 Id="rId4" Type="http://schemas.openxmlformats.org/officeDocument/2006/relationships/image" Target="../media/image24.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tags" Target="../tags/tag78.xml"/><Relationship Id="rId7" Type="http://schemas.openxmlformats.org/officeDocument/2006/relationships/image" Target="../media/image42.jpe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44.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image" Target="../media/image12.jpeg"/></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86.xml"/><Relationship Id="rId4" Type="http://schemas.openxmlformats.org/officeDocument/2006/relationships/image" Target="../media/image45.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3622033671"/>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a:xfrm>
            <a:off x="904402" y="1701801"/>
            <a:ext cx="10948049" cy="954087"/>
          </a:xfrm>
          <a:prstGeom prst="rect">
            <a:avLst/>
          </a:prstGeom>
        </p:spPr>
        <p:txBody>
          <a:bodyPr lIns="0" rIns="0" anchor="t">
            <a:noAutofit/>
          </a:bodyPr>
          <a:lstStyle>
            <a:lvl1pPr marL="1587" indent="0" algn="l">
              <a:defRPr sz="2799"/>
            </a:lvl1pPr>
          </a:lstStyle>
          <a:p>
            <a:r>
              <a:rPr lang="de-DE"/>
              <a:t>Titelseite ohne Bild, Arial, 28pt</a:t>
            </a:r>
            <a:br>
              <a:rPr lang="de-DE"/>
            </a:br>
            <a:r>
              <a:rPr lang="de-DE" b="1"/>
              <a:t>Hervorhebung Aussage</a:t>
            </a:r>
            <a:endParaRPr lang="de-DE"/>
          </a:p>
        </p:txBody>
      </p:sp>
      <p:sp>
        <p:nvSpPr>
          <p:cNvPr id="3" name="Untertitel 2"/>
          <p:cNvSpPr>
            <a:spLocks noGrp="1"/>
          </p:cNvSpPr>
          <p:nvPr>
            <p:ph type="subTitle" idx="1" hasCustomPrompt="1"/>
          </p:nvPr>
        </p:nvSpPr>
        <p:spPr>
          <a:xfrm>
            <a:off x="904403" y="2660625"/>
            <a:ext cx="10948050" cy="642965"/>
          </a:xfrm>
        </p:spPr>
        <p:txBody>
          <a:bodyPr lIns="0" rIns="0" anchor="t" anchorCtr="0">
            <a:noAutofit/>
          </a:bodyPr>
          <a:lstStyle>
            <a:lvl1pPr marL="1587" indent="0" algn="l">
              <a:spcBef>
                <a:spcPts val="0"/>
              </a:spcBef>
              <a:buNone/>
              <a:defRPr sz="1399">
                <a:solidFill>
                  <a:schemeClr val="tx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sp useBgFill="1">
        <p:nvSpPr>
          <p:cNvPr id="42" name="Rectangle 33"/>
          <p:cNvSpPr>
            <a:spLocks noChangeArrowheads="1"/>
          </p:cNvSpPr>
          <p:nvPr/>
        </p:nvSpPr>
        <p:spPr bwMode="auto">
          <a:xfrm>
            <a:off x="3171" y="5911778"/>
            <a:ext cx="4694053" cy="553297"/>
          </a:xfrm>
          <a:prstGeom prst="rect">
            <a:avLst/>
          </a:prstGeom>
          <a:ln w="0">
            <a:noFill/>
            <a:prstDash val="solid"/>
            <a:miter lim="800000"/>
            <a:headEnd/>
            <a:tailEnd/>
          </a:ln>
        </p:spPr>
        <p:txBody>
          <a:bodyPr vert="horz" wrap="square" lIns="91392" tIns="45696" rIns="91392" bIns="45696" numCol="1" anchor="t" anchorCtr="0" compatLnSpc="1">
            <a:prstTxWarp prst="textNoShape">
              <a:avLst/>
            </a:prstTxWarp>
          </a:bodyPr>
          <a:lstStyle/>
          <a:p>
            <a:endParaRPr lang="de-DE" sz="1799"/>
          </a:p>
        </p:txBody>
      </p:sp>
      <p:pic>
        <p:nvPicPr>
          <p:cNvPr id="32" name="Picture 2" descr="L:\Daten\_SWM Corporate Design\1_Grundelemente\1.5_Claim und Puls\Puls\Dezente Variante\Puls links\Puls_SWM_dezent_links_RGB_Blau.png">
            <a:extLst>
              <a:ext uri="{FF2B5EF4-FFF2-40B4-BE49-F238E27FC236}">
                <a16:creationId xmlns:a16="http://schemas.microsoft.com/office/drawing/2014/main" id="{621E154B-2257-4D79-AF10-86D1F660ACBC}"/>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2193" y="5645921"/>
            <a:ext cx="2856409" cy="99708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a:extLst>
              <a:ext uri="{FF2B5EF4-FFF2-40B4-BE49-F238E27FC236}">
                <a16:creationId xmlns:a16="http://schemas.microsoft.com/office/drawing/2014/main" id="{23337461-4BDA-4290-91EE-88046805D364}"/>
              </a:ext>
            </a:extLst>
          </p:cNvPr>
          <p:cNvPicPr>
            <a:picLocks noChangeAspect="1"/>
          </p:cNvPicPr>
          <p:nvPr/>
        </p:nvPicPr>
        <p:blipFill>
          <a:blip r:embed="rId7"/>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36423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Kapiteltrennfolie_mit_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ext uri="{D42A27DB-BD31-4B8C-83A1-F6EECF244321}">
                <p14:modId xmlns:p14="http://schemas.microsoft.com/office/powerpoint/2010/main" val="2160484133"/>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title" hasCustomPrompt="1"/>
          </p:nvPr>
        </p:nvSpPr>
        <p:spPr>
          <a:xfrm>
            <a:off x="339548" y="1701800"/>
            <a:ext cx="11512904" cy="922322"/>
          </a:xfrm>
          <a:prstGeom prst="rect">
            <a:avLst/>
          </a:prstGeom>
        </p:spPr>
        <p:txBody>
          <a:bodyPr lIns="0" tIns="0" rIns="0" bIns="0" anchor="t">
            <a:normAutofit/>
          </a:bodyPr>
          <a:lstStyle>
            <a:lvl1pPr marL="0" indent="0" algn="l">
              <a:defRPr sz="2799" b="1" cap="none" baseline="0"/>
            </a:lvl1pPr>
          </a:lstStyle>
          <a:p>
            <a:r>
              <a:rPr lang="de-DE"/>
              <a:t>Mastertitelformat bearbeiten</a:t>
            </a:r>
            <a:br>
              <a:rPr lang="de-DE"/>
            </a:br>
            <a:endParaRPr lang="de-DE"/>
          </a:p>
        </p:txBody>
      </p:sp>
      <p:sp>
        <p:nvSpPr>
          <p:cNvPr id="8" name="Bildplatzhalter 7"/>
          <p:cNvSpPr>
            <a:spLocks noGrp="1"/>
          </p:cNvSpPr>
          <p:nvPr>
            <p:ph type="pic" sz="quarter" idx="10"/>
          </p:nvPr>
        </p:nvSpPr>
        <p:spPr>
          <a:xfrm>
            <a:off x="339802" y="2997288"/>
            <a:ext cx="11490075" cy="32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Datumsplatzhalter 2">
            <a:extLst>
              <a:ext uri="{FF2B5EF4-FFF2-40B4-BE49-F238E27FC236}">
                <a16:creationId xmlns:a16="http://schemas.microsoft.com/office/drawing/2014/main" id="{A9F714C7-C707-48E8-8D07-7115250C40D8}"/>
              </a:ext>
            </a:extLst>
          </p:cNvPr>
          <p:cNvSpPr>
            <a:spLocks noGrp="1"/>
          </p:cNvSpPr>
          <p:nvPr>
            <p:ph type="dt" sz="half" idx="11"/>
          </p:nvPr>
        </p:nvSpPr>
        <p:spPr/>
        <p:txBody>
          <a:bodyPr/>
          <a:lstStyle/>
          <a:p>
            <a:fld id="{14401E8A-ADF9-4F99-AA00-FD0E4767F7F0}" type="datetime1">
              <a:rPr lang="de-DE" smtClean="0"/>
              <a:t>19.03.2025</a:t>
            </a:fld>
            <a:endParaRPr lang="de-DE"/>
          </a:p>
        </p:txBody>
      </p:sp>
      <p:sp>
        <p:nvSpPr>
          <p:cNvPr id="4" name="Fußzeilenplatzhalter 3">
            <a:extLst>
              <a:ext uri="{FF2B5EF4-FFF2-40B4-BE49-F238E27FC236}">
                <a16:creationId xmlns:a16="http://schemas.microsoft.com/office/drawing/2014/main" id="{43FEB254-E03A-4406-A000-00E8C15E13ED}"/>
              </a:ext>
            </a:extLst>
          </p:cNvPr>
          <p:cNvSpPr>
            <a:spLocks noGrp="1"/>
          </p:cNvSpPr>
          <p:nvPr>
            <p:ph type="ftr" sz="quarter" idx="12"/>
          </p:nvPr>
        </p:nvSpPr>
        <p:spPr/>
        <p:txBody>
          <a:bodyPr/>
          <a:lstStyle/>
          <a:p>
            <a:r>
              <a:rPr lang="de-DE"/>
              <a:t>GF-Sitzung</a:t>
            </a:r>
          </a:p>
        </p:txBody>
      </p:sp>
      <p:sp>
        <p:nvSpPr>
          <p:cNvPr id="9" name="Foliennummernplatzhalter 8">
            <a:extLst>
              <a:ext uri="{FF2B5EF4-FFF2-40B4-BE49-F238E27FC236}">
                <a16:creationId xmlns:a16="http://schemas.microsoft.com/office/drawing/2014/main" id="{145FCC79-53BC-4AF3-8848-093BB6EB7241}"/>
              </a:ext>
            </a:extLst>
          </p:cNvPr>
          <p:cNvSpPr>
            <a:spLocks noGrp="1"/>
          </p:cNvSpPr>
          <p:nvPr>
            <p:ph type="sldNum" sz="quarter" idx="13"/>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2453289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Inhal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wrap="square"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8" y="1701801"/>
            <a:ext cx="11512904"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2" name="Datumsplatzhalter 1">
            <a:extLst>
              <a:ext uri="{FF2B5EF4-FFF2-40B4-BE49-F238E27FC236}">
                <a16:creationId xmlns:a16="http://schemas.microsoft.com/office/drawing/2014/main" id="{0FFA4B42-6694-472F-8F7B-4D1A20FB932F}"/>
              </a:ext>
            </a:extLst>
          </p:cNvPr>
          <p:cNvSpPr>
            <a:spLocks noGrp="1"/>
          </p:cNvSpPr>
          <p:nvPr>
            <p:ph type="dt" sz="half" idx="12"/>
          </p:nvPr>
        </p:nvSpPr>
        <p:spPr/>
        <p:txBody>
          <a:bodyPr/>
          <a:lstStyle/>
          <a:p>
            <a:pPr>
              <a:tabLst>
                <a:tab pos="1257300" algn="l"/>
                <a:tab pos="2689225" algn="l"/>
              </a:tabLst>
            </a:pPr>
            <a:fld id="{4CB0AFAD-97DA-4F2E-B60C-028263A70C84}" type="datetime1">
              <a:rPr lang="de-DE" smtClean="0"/>
              <a:t>19.03.2025</a:t>
            </a:fld>
            <a:endParaRPr lang="de-DE"/>
          </a:p>
        </p:txBody>
      </p:sp>
      <p:sp>
        <p:nvSpPr>
          <p:cNvPr id="8" name="Fußzeilenplatzhalter 7">
            <a:extLst>
              <a:ext uri="{FF2B5EF4-FFF2-40B4-BE49-F238E27FC236}">
                <a16:creationId xmlns:a16="http://schemas.microsoft.com/office/drawing/2014/main" id="{7A6C9896-7833-4D7D-8ED1-7CD87B336A61}"/>
              </a:ext>
            </a:extLst>
          </p:cNvPr>
          <p:cNvSpPr>
            <a:spLocks noGrp="1"/>
          </p:cNvSpPr>
          <p:nvPr>
            <p:ph type="ftr" sz="quarter" idx="13"/>
          </p:nvPr>
        </p:nvSpPr>
        <p:spPr/>
        <p:txBody>
          <a:bodyPr/>
          <a:lstStyle/>
          <a:p>
            <a:pPr>
              <a:tabLst>
                <a:tab pos="1257300" algn="l"/>
                <a:tab pos="2689225" algn="l"/>
              </a:tabLst>
            </a:pPr>
            <a:r>
              <a:rPr lang="de-DE"/>
              <a:t>GF-Sitzung</a:t>
            </a:r>
            <a:endParaRPr lang="en-US"/>
          </a:p>
        </p:txBody>
      </p:sp>
      <p:sp>
        <p:nvSpPr>
          <p:cNvPr id="9" name="Foliennummernplatzhalter 8">
            <a:extLst>
              <a:ext uri="{FF2B5EF4-FFF2-40B4-BE49-F238E27FC236}">
                <a16:creationId xmlns:a16="http://schemas.microsoft.com/office/drawing/2014/main" id="{47B69DA0-2C7F-4A33-82F9-EFEF94312B2F}"/>
              </a:ext>
            </a:extLst>
          </p:cNvPr>
          <p:cNvSpPr>
            <a:spLocks noGrp="1"/>
          </p:cNvSpPr>
          <p:nvPr>
            <p:ph type="sldNum" sz="quarter" idx="14"/>
          </p:nvPr>
        </p:nvSpPr>
        <p:spPr/>
        <p:txBody>
          <a:bodyPr/>
          <a:lstStyle/>
          <a:p>
            <a:fld id="{5D5ECB39-EFE3-45BA-A65C-33A20752AD82}" type="slidenum">
              <a:rPr lang="de-DE" smtClean="0"/>
              <a:pPr/>
              <a:t>‹Nr.›</a:t>
            </a:fld>
            <a:endParaRPr lang="de-DE"/>
          </a:p>
        </p:txBody>
      </p:sp>
    </p:spTree>
    <p:custDataLst>
      <p:tags r:id="rId1"/>
    </p:custDataLst>
    <p:extLst>
      <p:ext uri="{BB962C8B-B14F-4D97-AF65-F5344CB8AC3E}">
        <p14:creationId xmlns:p14="http://schemas.microsoft.com/office/powerpoint/2010/main" val="3723546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halt_Bild">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8" y="5098212"/>
            <a:ext cx="11512904" cy="1139076"/>
          </a:xfrm>
        </p:spPr>
        <p:txBody>
          <a:bodyPr/>
          <a:lstStyle/>
          <a:p>
            <a:pPr lvl="0"/>
            <a:r>
              <a:rPr lang="de-DE"/>
              <a:t>Textmasterformat bearbeiten</a:t>
            </a:r>
          </a:p>
          <a:p>
            <a:pPr lvl="1"/>
            <a:r>
              <a:rPr lang="de-DE"/>
              <a:t>Zweite Ebene</a:t>
            </a:r>
          </a:p>
        </p:txBody>
      </p:sp>
      <p:sp>
        <p:nvSpPr>
          <p:cNvPr id="7" name="Bildplatzhalter 7"/>
          <p:cNvSpPr>
            <a:spLocks noGrp="1"/>
          </p:cNvSpPr>
          <p:nvPr>
            <p:ph type="pic" sz="quarter" idx="12"/>
          </p:nvPr>
        </p:nvSpPr>
        <p:spPr>
          <a:xfrm>
            <a:off x="339548" y="1701800"/>
            <a:ext cx="11512904" cy="32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8" name="Titel 7"/>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2" name="Datumsplatzhalter 1">
            <a:extLst>
              <a:ext uri="{FF2B5EF4-FFF2-40B4-BE49-F238E27FC236}">
                <a16:creationId xmlns:a16="http://schemas.microsoft.com/office/drawing/2014/main" id="{EC219C9F-7FB4-45FB-AE62-69CF4E94427C}"/>
              </a:ext>
            </a:extLst>
          </p:cNvPr>
          <p:cNvSpPr>
            <a:spLocks noGrp="1"/>
          </p:cNvSpPr>
          <p:nvPr>
            <p:ph type="dt" sz="half" idx="13"/>
          </p:nvPr>
        </p:nvSpPr>
        <p:spPr/>
        <p:txBody>
          <a:bodyPr/>
          <a:lstStyle/>
          <a:p>
            <a:fld id="{8760223E-E89F-46FE-BBFA-B069F8532F7F}" type="datetime1">
              <a:rPr lang="de-DE" smtClean="0"/>
              <a:t>19.03.2025</a:t>
            </a:fld>
            <a:endParaRPr lang="de-DE"/>
          </a:p>
        </p:txBody>
      </p:sp>
      <p:sp>
        <p:nvSpPr>
          <p:cNvPr id="3" name="Fußzeilenplatzhalter 2">
            <a:extLst>
              <a:ext uri="{FF2B5EF4-FFF2-40B4-BE49-F238E27FC236}">
                <a16:creationId xmlns:a16="http://schemas.microsoft.com/office/drawing/2014/main" id="{30583701-21CE-43D6-BEC7-AB5ED41CCC45}"/>
              </a:ext>
            </a:extLst>
          </p:cNvPr>
          <p:cNvSpPr>
            <a:spLocks noGrp="1"/>
          </p:cNvSpPr>
          <p:nvPr>
            <p:ph type="ftr" sz="quarter" idx="14"/>
          </p:nvPr>
        </p:nvSpPr>
        <p:spPr/>
        <p:txBody>
          <a:bodyPr/>
          <a:lstStyle/>
          <a:p>
            <a:r>
              <a:rPr lang="de-DE"/>
              <a:t>GF-Sitzung</a:t>
            </a:r>
          </a:p>
        </p:txBody>
      </p:sp>
      <p:sp>
        <p:nvSpPr>
          <p:cNvPr id="5" name="Foliennummernplatzhalter 4">
            <a:extLst>
              <a:ext uri="{FF2B5EF4-FFF2-40B4-BE49-F238E27FC236}">
                <a16:creationId xmlns:a16="http://schemas.microsoft.com/office/drawing/2014/main" id="{2EC6FADA-6EA9-4B8E-B097-19C53EEEBC31}"/>
              </a:ext>
            </a:extLst>
          </p:cNvPr>
          <p:cNvSpPr>
            <a:spLocks noGrp="1"/>
          </p:cNvSpPr>
          <p:nvPr>
            <p:ph type="sldNum" sz="quarter" idx="15"/>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11481992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nhalt_Bild_2">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8" y="4028536"/>
            <a:ext cx="11512904" cy="220875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Bildplatzhalter 7"/>
          <p:cNvSpPr>
            <a:spLocks noGrp="1"/>
          </p:cNvSpPr>
          <p:nvPr>
            <p:ph type="pic" sz="quarter" idx="12"/>
          </p:nvPr>
        </p:nvSpPr>
        <p:spPr>
          <a:xfrm>
            <a:off x="339549" y="1701800"/>
            <a:ext cx="5648503" cy="216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8" name="Bildplatzhalter 7"/>
          <p:cNvSpPr>
            <a:spLocks noGrp="1"/>
          </p:cNvSpPr>
          <p:nvPr>
            <p:ph type="pic" sz="quarter" idx="13"/>
          </p:nvPr>
        </p:nvSpPr>
        <p:spPr>
          <a:xfrm>
            <a:off x="6201833" y="1701800"/>
            <a:ext cx="5650619" cy="216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2" name="Datumsplatzhalter 1">
            <a:extLst>
              <a:ext uri="{FF2B5EF4-FFF2-40B4-BE49-F238E27FC236}">
                <a16:creationId xmlns:a16="http://schemas.microsoft.com/office/drawing/2014/main" id="{841FF449-B6C7-45BC-90D8-CBAADC26C347}"/>
              </a:ext>
            </a:extLst>
          </p:cNvPr>
          <p:cNvSpPr>
            <a:spLocks noGrp="1"/>
          </p:cNvSpPr>
          <p:nvPr>
            <p:ph type="dt" sz="half" idx="14"/>
          </p:nvPr>
        </p:nvSpPr>
        <p:spPr/>
        <p:txBody>
          <a:bodyPr/>
          <a:lstStyle/>
          <a:p>
            <a:fld id="{7A292D1E-9F04-41E4-AF4E-868A350435B3}" type="datetime1">
              <a:rPr lang="de-DE" smtClean="0"/>
              <a:t>19.03.2025</a:t>
            </a:fld>
            <a:endParaRPr lang="de-DE"/>
          </a:p>
        </p:txBody>
      </p:sp>
      <p:sp>
        <p:nvSpPr>
          <p:cNvPr id="5" name="Fußzeilenplatzhalter 4">
            <a:extLst>
              <a:ext uri="{FF2B5EF4-FFF2-40B4-BE49-F238E27FC236}">
                <a16:creationId xmlns:a16="http://schemas.microsoft.com/office/drawing/2014/main" id="{09B9FB19-0557-408B-ACB7-609C10E634ED}"/>
              </a:ext>
            </a:extLst>
          </p:cNvPr>
          <p:cNvSpPr>
            <a:spLocks noGrp="1"/>
          </p:cNvSpPr>
          <p:nvPr>
            <p:ph type="ftr" sz="quarter" idx="15"/>
          </p:nvPr>
        </p:nvSpPr>
        <p:spPr/>
        <p:txBody>
          <a:bodyPr/>
          <a:lstStyle/>
          <a:p>
            <a:r>
              <a:rPr lang="de-DE"/>
              <a:t>GF-Sitzung</a:t>
            </a:r>
          </a:p>
        </p:txBody>
      </p:sp>
      <p:sp>
        <p:nvSpPr>
          <p:cNvPr id="11" name="Foliennummernplatzhalter 10">
            <a:extLst>
              <a:ext uri="{FF2B5EF4-FFF2-40B4-BE49-F238E27FC236}">
                <a16:creationId xmlns:a16="http://schemas.microsoft.com/office/drawing/2014/main" id="{D0AE7326-ED9C-4611-8594-9F6903CE1737}"/>
              </a:ext>
            </a:extLst>
          </p:cNvPr>
          <p:cNvSpPr>
            <a:spLocks noGrp="1"/>
          </p:cNvSpPr>
          <p:nvPr>
            <p:ph type="sldNum" sz="quarter" idx="16"/>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10659282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Inhalt_Bild_3">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254316"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4261805" y="1701800"/>
            <a:ext cx="7590647"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3"/>
          </p:nvPr>
        </p:nvSpPr>
        <p:spPr>
          <a:xfrm>
            <a:off x="339548" y="1701800"/>
            <a:ext cx="3706470" cy="4535488"/>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2" name="Datumsplatzhalter 1">
            <a:extLst>
              <a:ext uri="{FF2B5EF4-FFF2-40B4-BE49-F238E27FC236}">
                <a16:creationId xmlns:a16="http://schemas.microsoft.com/office/drawing/2014/main" id="{69F2A6BC-098A-469A-9538-6479B522BF17}"/>
              </a:ext>
            </a:extLst>
          </p:cNvPr>
          <p:cNvSpPr>
            <a:spLocks noGrp="1"/>
          </p:cNvSpPr>
          <p:nvPr>
            <p:ph type="dt" sz="half" idx="14"/>
          </p:nvPr>
        </p:nvSpPr>
        <p:spPr/>
        <p:txBody>
          <a:bodyPr/>
          <a:lstStyle/>
          <a:p>
            <a:fld id="{D689517E-44AB-43AD-AC29-EEEAEFC0664A}" type="datetime1">
              <a:rPr lang="de-DE" smtClean="0"/>
              <a:t>19.03.2025</a:t>
            </a:fld>
            <a:endParaRPr lang="de-DE"/>
          </a:p>
        </p:txBody>
      </p:sp>
      <p:sp>
        <p:nvSpPr>
          <p:cNvPr id="5" name="Fußzeilenplatzhalter 4">
            <a:extLst>
              <a:ext uri="{FF2B5EF4-FFF2-40B4-BE49-F238E27FC236}">
                <a16:creationId xmlns:a16="http://schemas.microsoft.com/office/drawing/2014/main" id="{CE5138D6-2F5C-42FF-BEE2-4FCC5A48BCD7}"/>
              </a:ext>
            </a:extLst>
          </p:cNvPr>
          <p:cNvSpPr>
            <a:spLocks noGrp="1"/>
          </p:cNvSpPr>
          <p:nvPr>
            <p:ph type="ftr" sz="quarter" idx="15"/>
          </p:nvPr>
        </p:nvSpPr>
        <p:spPr/>
        <p:txBody>
          <a:bodyPr/>
          <a:lstStyle/>
          <a:p>
            <a:r>
              <a:rPr lang="de-DE"/>
              <a:t>GF-Sitzung</a:t>
            </a:r>
          </a:p>
        </p:txBody>
      </p:sp>
      <p:sp>
        <p:nvSpPr>
          <p:cNvPr id="10" name="Foliennummernplatzhalter 9">
            <a:extLst>
              <a:ext uri="{FF2B5EF4-FFF2-40B4-BE49-F238E27FC236}">
                <a16:creationId xmlns:a16="http://schemas.microsoft.com/office/drawing/2014/main" id="{739B64BE-EA39-49E3-82C0-7F1F7B784E79}"/>
              </a:ext>
            </a:extLst>
          </p:cNvPr>
          <p:cNvSpPr>
            <a:spLocks noGrp="1"/>
          </p:cNvSpPr>
          <p:nvPr>
            <p:ph type="sldNum" sz="quarter" idx="16"/>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3495905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nhalt_Bild_5">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7" y="1701800"/>
            <a:ext cx="7609688"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8" name="Bildplatzhalter 7"/>
          <p:cNvSpPr>
            <a:spLocks noGrp="1"/>
          </p:cNvSpPr>
          <p:nvPr>
            <p:ph type="pic" sz="quarter" idx="13"/>
          </p:nvPr>
        </p:nvSpPr>
        <p:spPr>
          <a:xfrm>
            <a:off x="8165023" y="1701800"/>
            <a:ext cx="3687429" cy="4535488"/>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2" name="Datumsplatzhalter 1">
            <a:extLst>
              <a:ext uri="{FF2B5EF4-FFF2-40B4-BE49-F238E27FC236}">
                <a16:creationId xmlns:a16="http://schemas.microsoft.com/office/drawing/2014/main" id="{4ED3AD33-2554-44E5-A024-850D1837A69B}"/>
              </a:ext>
            </a:extLst>
          </p:cNvPr>
          <p:cNvSpPr>
            <a:spLocks noGrp="1"/>
          </p:cNvSpPr>
          <p:nvPr>
            <p:ph type="dt" sz="half" idx="14"/>
          </p:nvPr>
        </p:nvSpPr>
        <p:spPr/>
        <p:txBody>
          <a:bodyPr/>
          <a:lstStyle/>
          <a:p>
            <a:fld id="{B9D9BECD-9F98-4DF6-A0DD-9189BEF1E294}" type="datetime1">
              <a:rPr lang="de-DE" smtClean="0"/>
              <a:t>19.03.2025</a:t>
            </a:fld>
            <a:endParaRPr lang="de-DE"/>
          </a:p>
        </p:txBody>
      </p:sp>
      <p:sp>
        <p:nvSpPr>
          <p:cNvPr id="5" name="Fußzeilenplatzhalter 4">
            <a:extLst>
              <a:ext uri="{FF2B5EF4-FFF2-40B4-BE49-F238E27FC236}">
                <a16:creationId xmlns:a16="http://schemas.microsoft.com/office/drawing/2014/main" id="{0F22D51D-B3C3-422A-B476-C61BBD018ECC}"/>
              </a:ext>
            </a:extLst>
          </p:cNvPr>
          <p:cNvSpPr>
            <a:spLocks noGrp="1"/>
          </p:cNvSpPr>
          <p:nvPr>
            <p:ph type="ftr" sz="quarter" idx="15"/>
          </p:nvPr>
        </p:nvSpPr>
        <p:spPr/>
        <p:txBody>
          <a:bodyPr/>
          <a:lstStyle/>
          <a:p>
            <a:r>
              <a:rPr lang="de-DE"/>
              <a:t>GF-Sitzung</a:t>
            </a:r>
          </a:p>
        </p:txBody>
      </p:sp>
      <p:sp>
        <p:nvSpPr>
          <p:cNvPr id="10" name="Foliennummernplatzhalter 9">
            <a:extLst>
              <a:ext uri="{FF2B5EF4-FFF2-40B4-BE49-F238E27FC236}">
                <a16:creationId xmlns:a16="http://schemas.microsoft.com/office/drawing/2014/main" id="{C650424A-D121-4FB4-90DF-ADE060607826}"/>
              </a:ext>
            </a:extLst>
          </p:cNvPr>
          <p:cNvSpPr>
            <a:spLocks noGrp="1"/>
          </p:cNvSpPr>
          <p:nvPr>
            <p:ph type="sldNum" sz="quarter" idx="16"/>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829803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halt_Bild_6">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4261805" y="1701800"/>
            <a:ext cx="7590647"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3"/>
          </p:nvPr>
        </p:nvSpPr>
        <p:spPr>
          <a:xfrm>
            <a:off x="339548" y="1701800"/>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7" name="Bildplatzhalter 7"/>
          <p:cNvSpPr>
            <a:spLocks noGrp="1"/>
          </p:cNvSpPr>
          <p:nvPr>
            <p:ph type="pic" sz="quarter" idx="14"/>
          </p:nvPr>
        </p:nvSpPr>
        <p:spPr>
          <a:xfrm>
            <a:off x="339548" y="3249544"/>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9" name="Bildplatzhalter 7"/>
          <p:cNvSpPr>
            <a:spLocks noGrp="1"/>
          </p:cNvSpPr>
          <p:nvPr>
            <p:ph type="pic" sz="quarter" idx="15"/>
          </p:nvPr>
        </p:nvSpPr>
        <p:spPr>
          <a:xfrm>
            <a:off x="339548" y="4797288"/>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2" name="Datumsplatzhalter 1">
            <a:extLst>
              <a:ext uri="{FF2B5EF4-FFF2-40B4-BE49-F238E27FC236}">
                <a16:creationId xmlns:a16="http://schemas.microsoft.com/office/drawing/2014/main" id="{42EAB33E-D5BC-4787-BD9A-A7889ECB40E4}"/>
              </a:ext>
            </a:extLst>
          </p:cNvPr>
          <p:cNvSpPr>
            <a:spLocks noGrp="1"/>
          </p:cNvSpPr>
          <p:nvPr>
            <p:ph type="dt" sz="half" idx="16"/>
          </p:nvPr>
        </p:nvSpPr>
        <p:spPr/>
        <p:txBody>
          <a:bodyPr/>
          <a:lstStyle/>
          <a:p>
            <a:fld id="{45C811D6-76E1-45DD-AE09-D1E927756832}" type="datetime1">
              <a:rPr lang="de-DE" smtClean="0"/>
              <a:t>19.03.2025</a:t>
            </a:fld>
            <a:endParaRPr lang="de-DE"/>
          </a:p>
        </p:txBody>
      </p:sp>
      <p:sp>
        <p:nvSpPr>
          <p:cNvPr id="5" name="Fußzeilenplatzhalter 4">
            <a:extLst>
              <a:ext uri="{FF2B5EF4-FFF2-40B4-BE49-F238E27FC236}">
                <a16:creationId xmlns:a16="http://schemas.microsoft.com/office/drawing/2014/main" id="{6CEAC555-FC30-437B-8ECF-C57D883CDF14}"/>
              </a:ext>
            </a:extLst>
          </p:cNvPr>
          <p:cNvSpPr>
            <a:spLocks noGrp="1"/>
          </p:cNvSpPr>
          <p:nvPr>
            <p:ph type="ftr" sz="quarter" idx="17"/>
          </p:nvPr>
        </p:nvSpPr>
        <p:spPr/>
        <p:txBody>
          <a:bodyPr/>
          <a:lstStyle/>
          <a:p>
            <a:r>
              <a:rPr lang="de-DE"/>
              <a:t>GF-Sitzung</a:t>
            </a:r>
          </a:p>
        </p:txBody>
      </p:sp>
      <p:sp>
        <p:nvSpPr>
          <p:cNvPr id="12" name="Foliennummernplatzhalter 11">
            <a:extLst>
              <a:ext uri="{FF2B5EF4-FFF2-40B4-BE49-F238E27FC236}">
                <a16:creationId xmlns:a16="http://schemas.microsoft.com/office/drawing/2014/main" id="{1146BEFD-8CE3-4FC7-A14A-D8F4616CC0E8}"/>
              </a:ext>
            </a:extLst>
          </p:cNvPr>
          <p:cNvSpPr>
            <a:spLocks noGrp="1"/>
          </p:cNvSpPr>
          <p:nvPr>
            <p:ph type="sldNum" sz="quarter" idx="18"/>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8866266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halt_Bild_7">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7" y="1701800"/>
            <a:ext cx="7609688"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10" name="Bildplatzhalter 7"/>
          <p:cNvSpPr>
            <a:spLocks noGrp="1"/>
          </p:cNvSpPr>
          <p:nvPr>
            <p:ph type="pic" sz="quarter" idx="16"/>
          </p:nvPr>
        </p:nvSpPr>
        <p:spPr>
          <a:xfrm>
            <a:off x="8165023" y="1701800"/>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1" name="Bildplatzhalter 7"/>
          <p:cNvSpPr>
            <a:spLocks noGrp="1"/>
          </p:cNvSpPr>
          <p:nvPr>
            <p:ph type="pic" sz="quarter" idx="17"/>
          </p:nvPr>
        </p:nvSpPr>
        <p:spPr>
          <a:xfrm>
            <a:off x="8165023" y="3249544"/>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2" name="Bildplatzhalter 7"/>
          <p:cNvSpPr>
            <a:spLocks noGrp="1"/>
          </p:cNvSpPr>
          <p:nvPr>
            <p:ph type="pic" sz="quarter" idx="18"/>
          </p:nvPr>
        </p:nvSpPr>
        <p:spPr>
          <a:xfrm>
            <a:off x="8165023" y="4797288"/>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2" name="Datumsplatzhalter 1">
            <a:extLst>
              <a:ext uri="{FF2B5EF4-FFF2-40B4-BE49-F238E27FC236}">
                <a16:creationId xmlns:a16="http://schemas.microsoft.com/office/drawing/2014/main" id="{FC4355A8-4D68-4F58-87C1-E22786D64AC6}"/>
              </a:ext>
            </a:extLst>
          </p:cNvPr>
          <p:cNvSpPr>
            <a:spLocks noGrp="1"/>
          </p:cNvSpPr>
          <p:nvPr>
            <p:ph type="dt" sz="half" idx="19"/>
          </p:nvPr>
        </p:nvSpPr>
        <p:spPr/>
        <p:txBody>
          <a:bodyPr/>
          <a:lstStyle/>
          <a:p>
            <a:fld id="{B73C56AB-09C4-4AA3-9A94-4F5D3E63D7AE}" type="datetime1">
              <a:rPr lang="de-DE" smtClean="0"/>
              <a:t>19.03.2025</a:t>
            </a:fld>
            <a:endParaRPr lang="de-DE"/>
          </a:p>
        </p:txBody>
      </p:sp>
      <p:sp>
        <p:nvSpPr>
          <p:cNvPr id="5" name="Fußzeilenplatzhalter 4">
            <a:extLst>
              <a:ext uri="{FF2B5EF4-FFF2-40B4-BE49-F238E27FC236}">
                <a16:creationId xmlns:a16="http://schemas.microsoft.com/office/drawing/2014/main" id="{A6B19F66-8F35-4291-83DD-B36E7619EB37}"/>
              </a:ext>
            </a:extLst>
          </p:cNvPr>
          <p:cNvSpPr>
            <a:spLocks noGrp="1"/>
          </p:cNvSpPr>
          <p:nvPr>
            <p:ph type="ftr" sz="quarter" idx="20"/>
          </p:nvPr>
        </p:nvSpPr>
        <p:spPr/>
        <p:txBody>
          <a:bodyPr/>
          <a:lstStyle/>
          <a:p>
            <a:r>
              <a:rPr lang="de-DE"/>
              <a:t>GF-Sitzung</a:t>
            </a:r>
          </a:p>
        </p:txBody>
      </p:sp>
      <p:sp>
        <p:nvSpPr>
          <p:cNvPr id="7" name="Foliennummernplatzhalter 6">
            <a:extLst>
              <a:ext uri="{FF2B5EF4-FFF2-40B4-BE49-F238E27FC236}">
                <a16:creationId xmlns:a16="http://schemas.microsoft.com/office/drawing/2014/main" id="{247C5CDB-B83F-4C51-B735-29ADF06E5B1D}"/>
              </a:ext>
            </a:extLst>
          </p:cNvPr>
          <p:cNvSpPr>
            <a:spLocks noGrp="1"/>
          </p:cNvSpPr>
          <p:nvPr>
            <p:ph type="sldNum" sz="quarter" idx="21"/>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10578452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halt_Bild_8">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158337688"/>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4" name="Textplatzhalter 3"/>
          <p:cNvSpPr>
            <a:spLocks noGrp="1"/>
          </p:cNvSpPr>
          <p:nvPr>
            <p:ph type="body" sz="quarter" idx="10" hasCustomPrompt="1"/>
          </p:nvPr>
        </p:nvSpPr>
        <p:spPr>
          <a:xfrm>
            <a:off x="339548" y="206375"/>
            <a:ext cx="11512904"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8" y="1701800"/>
            <a:ext cx="11512904" cy="295646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10" name="Bildplatzhalter 7"/>
          <p:cNvSpPr>
            <a:spLocks noGrp="1"/>
          </p:cNvSpPr>
          <p:nvPr>
            <p:ph type="pic" sz="quarter" idx="16"/>
          </p:nvPr>
        </p:nvSpPr>
        <p:spPr>
          <a:xfrm>
            <a:off x="339549" y="4797288"/>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1" name="Bildplatzhalter 7"/>
          <p:cNvSpPr>
            <a:spLocks noGrp="1"/>
          </p:cNvSpPr>
          <p:nvPr>
            <p:ph type="pic" sz="quarter" idx="17"/>
          </p:nvPr>
        </p:nvSpPr>
        <p:spPr>
          <a:xfrm>
            <a:off x="4261806" y="4797288"/>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2" name="Bildplatzhalter 7"/>
          <p:cNvSpPr>
            <a:spLocks noGrp="1"/>
          </p:cNvSpPr>
          <p:nvPr>
            <p:ph type="pic" sz="quarter" idx="18"/>
          </p:nvPr>
        </p:nvSpPr>
        <p:spPr>
          <a:xfrm>
            <a:off x="8165023" y="4797288"/>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2" name="Datumsplatzhalter 1">
            <a:extLst>
              <a:ext uri="{FF2B5EF4-FFF2-40B4-BE49-F238E27FC236}">
                <a16:creationId xmlns:a16="http://schemas.microsoft.com/office/drawing/2014/main" id="{267807BF-29FC-4297-8344-10F3502DEFB6}"/>
              </a:ext>
            </a:extLst>
          </p:cNvPr>
          <p:cNvSpPr>
            <a:spLocks noGrp="1"/>
          </p:cNvSpPr>
          <p:nvPr>
            <p:ph type="dt" sz="half" idx="19"/>
          </p:nvPr>
        </p:nvSpPr>
        <p:spPr/>
        <p:txBody>
          <a:bodyPr/>
          <a:lstStyle/>
          <a:p>
            <a:fld id="{C51D9A70-4ED5-48BB-A30F-E6B052F054B4}" type="datetime1">
              <a:rPr lang="de-DE" smtClean="0"/>
              <a:t>19.03.2025</a:t>
            </a:fld>
            <a:endParaRPr lang="de-DE"/>
          </a:p>
        </p:txBody>
      </p:sp>
      <p:sp>
        <p:nvSpPr>
          <p:cNvPr id="7" name="Fußzeilenplatzhalter 6">
            <a:extLst>
              <a:ext uri="{FF2B5EF4-FFF2-40B4-BE49-F238E27FC236}">
                <a16:creationId xmlns:a16="http://schemas.microsoft.com/office/drawing/2014/main" id="{20A776AC-5447-4E49-A191-E6A9B83BFB9D}"/>
              </a:ext>
            </a:extLst>
          </p:cNvPr>
          <p:cNvSpPr>
            <a:spLocks noGrp="1"/>
          </p:cNvSpPr>
          <p:nvPr>
            <p:ph type="ftr" sz="quarter" idx="20"/>
          </p:nvPr>
        </p:nvSpPr>
        <p:spPr/>
        <p:txBody>
          <a:bodyPr/>
          <a:lstStyle/>
          <a:p>
            <a:r>
              <a:rPr lang="de-DE"/>
              <a:t>GF-Sitzung</a:t>
            </a:r>
          </a:p>
        </p:txBody>
      </p:sp>
      <p:sp>
        <p:nvSpPr>
          <p:cNvPr id="8" name="Foliennummernplatzhalter 7">
            <a:extLst>
              <a:ext uri="{FF2B5EF4-FFF2-40B4-BE49-F238E27FC236}">
                <a16:creationId xmlns:a16="http://schemas.microsoft.com/office/drawing/2014/main" id="{BA689E9F-97D1-4CD0-AF4E-B3123F218C0E}"/>
              </a:ext>
            </a:extLst>
          </p:cNvPr>
          <p:cNvSpPr>
            <a:spLocks noGrp="1"/>
          </p:cNvSpPr>
          <p:nvPr>
            <p:ph type="sldNum" sz="quarter" idx="21"/>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24551230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51E2D32-B55B-47F8-A938-36F7347ED9B0}"/>
              </a:ext>
            </a:extLst>
          </p:cNvPr>
          <p:cNvSpPr>
            <a:spLocks noGrp="1"/>
          </p:cNvSpPr>
          <p:nvPr>
            <p:ph type="dt" sz="half" idx="10"/>
          </p:nvPr>
        </p:nvSpPr>
        <p:spPr/>
        <p:txBody>
          <a:bodyPr/>
          <a:lstStyle/>
          <a:p>
            <a:fld id="{D0CC70B0-215D-4F46-842C-8BBD01310836}" type="datetime1">
              <a:rPr lang="de-DE" smtClean="0"/>
              <a:t>19.03.2025</a:t>
            </a:fld>
            <a:endParaRPr lang="de-DE"/>
          </a:p>
        </p:txBody>
      </p:sp>
      <p:sp>
        <p:nvSpPr>
          <p:cNvPr id="5" name="Fußzeilenplatzhalter 4">
            <a:extLst>
              <a:ext uri="{FF2B5EF4-FFF2-40B4-BE49-F238E27FC236}">
                <a16:creationId xmlns:a16="http://schemas.microsoft.com/office/drawing/2014/main" id="{C134F042-AA81-48D7-B6F3-600F7B7E392C}"/>
              </a:ext>
            </a:extLst>
          </p:cNvPr>
          <p:cNvSpPr>
            <a:spLocks noGrp="1"/>
          </p:cNvSpPr>
          <p:nvPr>
            <p:ph type="ftr" sz="quarter" idx="11"/>
          </p:nvPr>
        </p:nvSpPr>
        <p:spPr/>
        <p:txBody>
          <a:bodyPr/>
          <a:lstStyle/>
          <a:p>
            <a:r>
              <a:rPr lang="de-DE"/>
              <a:t>GF-Sitzung</a:t>
            </a:r>
          </a:p>
        </p:txBody>
      </p:sp>
      <p:sp>
        <p:nvSpPr>
          <p:cNvPr id="6" name="Foliennummernplatzhalter 5">
            <a:extLst>
              <a:ext uri="{FF2B5EF4-FFF2-40B4-BE49-F238E27FC236}">
                <a16:creationId xmlns:a16="http://schemas.microsoft.com/office/drawing/2014/main" id="{B5E6F8C1-EC0F-488F-9FC0-08D9E533374C}"/>
              </a:ext>
            </a:extLst>
          </p:cNvPr>
          <p:cNvSpPr>
            <a:spLocks noGrp="1"/>
          </p:cNvSpPr>
          <p:nvPr>
            <p:ph type="sldNum" sz="quarter" idx="12"/>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27542724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el 2">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60DA00F6-A1C7-48EA-A8E1-DDD31F9FC1B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0" y="146"/>
            <a:ext cx="12192000" cy="687358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462256750"/>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a:effectLst>
            <a:outerShdw blurRad="139700" dir="2700000" algn="tl" rotWithShape="0">
              <a:schemeClr val="bg2">
                <a:lumMod val="25000"/>
                <a:alpha val="34000"/>
              </a:schemeClr>
            </a:outerShdw>
          </a:effectLst>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a:effectLst>
            <a:outerShdw blurRad="139700" dir="2700000" algn="tl" rotWithShape="0">
              <a:schemeClr val="bg2">
                <a:lumMod val="25000"/>
                <a:alpha val="34000"/>
              </a:schemeClr>
            </a:outerShdw>
          </a:effectLst>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grpSp>
        <p:nvGrpSpPr>
          <p:cNvPr id="10" name="Gruppieren 9">
            <a:extLst>
              <a:ext uri="{FF2B5EF4-FFF2-40B4-BE49-F238E27FC236}">
                <a16:creationId xmlns:a16="http://schemas.microsoft.com/office/drawing/2014/main" id="{B1EC7C8D-3AA8-4692-A63A-3941597863B7}"/>
              </a:ext>
            </a:extLst>
          </p:cNvPr>
          <p:cNvGrpSpPr/>
          <p:nvPr/>
        </p:nvGrpSpPr>
        <p:grpSpPr>
          <a:xfrm>
            <a:off x="60669" y="12701"/>
            <a:ext cx="7993287" cy="1406568"/>
            <a:chOff x="60701" y="3176"/>
            <a:chExt cx="7997450" cy="1406568"/>
          </a:xfrm>
        </p:grpSpPr>
        <p:pic>
          <p:nvPicPr>
            <p:cNvPr id="11" name="Picture 6" descr="L:\Projekte\01_Unternehmen\04_Corporate-Medien\PPT Präsentationen\9033_PPT Vorlage mit Puls\2_Entwicklung\Material\Puls etc\Puls_SWM_lang_16-9.png">
              <a:extLst>
                <a:ext uri="{FF2B5EF4-FFF2-40B4-BE49-F238E27FC236}">
                  <a16:creationId xmlns:a16="http://schemas.microsoft.com/office/drawing/2014/main" id="{9140FE91-AE4B-4670-BB0A-095E63FAFC4E}"/>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49">
              <a:extLst>
                <a:ext uri="{FF2B5EF4-FFF2-40B4-BE49-F238E27FC236}">
                  <a16:creationId xmlns:a16="http://schemas.microsoft.com/office/drawing/2014/main" id="{160EF302-5C86-4D0D-B589-3FA748F26F27}"/>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3" name="Grafik 12">
            <a:extLst>
              <a:ext uri="{FF2B5EF4-FFF2-40B4-BE49-F238E27FC236}">
                <a16:creationId xmlns:a16="http://schemas.microsoft.com/office/drawing/2014/main" id="{F9117BFA-B134-4111-B345-F32CEE7FB41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54598" y="5922947"/>
            <a:ext cx="3635326" cy="431396"/>
          </a:xfrm>
          <a:prstGeom prst="rect">
            <a:avLst/>
          </a:prstGeom>
        </p:spPr>
      </p:pic>
      <p:pic>
        <p:nvPicPr>
          <p:cNvPr id="14" name="Grafik 13">
            <a:extLst>
              <a:ext uri="{FF2B5EF4-FFF2-40B4-BE49-F238E27FC236}">
                <a16:creationId xmlns:a16="http://schemas.microsoft.com/office/drawing/2014/main" id="{3E9852A9-1093-43F3-A0FC-8848D78CD7E9}"/>
              </a:ext>
            </a:extLst>
          </p:cNvPr>
          <p:cNvPicPr>
            <a:picLocks noChangeAspect="1"/>
          </p:cNvPicPr>
          <p:nvPr/>
        </p:nvPicPr>
        <p:blipFill>
          <a:blip r:embed="rId9"/>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68095674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bschlussfolie ohne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913925" y="1701801"/>
            <a:ext cx="10940115" cy="954087"/>
          </a:xfrm>
          <a:prstGeom prst="rect">
            <a:avLst/>
          </a:prstGeom>
        </p:spPr>
        <p:txBody>
          <a:bodyPr lIns="0" rIns="0" anchor="t">
            <a:normAutofit/>
          </a:bodyPr>
          <a:lstStyle>
            <a:lvl1pPr marL="1587" indent="0" algn="l">
              <a:defRPr sz="2799" b="1"/>
            </a:lvl1pPr>
          </a:lstStyle>
          <a:p>
            <a:r>
              <a:rPr lang="de-DE"/>
              <a:t>Vielen Dank für </a:t>
            </a:r>
            <a:br>
              <a:rPr lang="de-DE"/>
            </a:br>
            <a:r>
              <a:rPr lang="de-DE"/>
              <a:t>Ihre Aufmerksamkeit.</a:t>
            </a:r>
          </a:p>
        </p:txBody>
      </p:sp>
      <p:pic>
        <p:nvPicPr>
          <p:cNvPr id="6" name="Grafik 5">
            <a:extLst>
              <a:ext uri="{FF2B5EF4-FFF2-40B4-BE49-F238E27FC236}">
                <a16:creationId xmlns:a16="http://schemas.microsoft.com/office/drawing/2014/main" id="{3D01239F-37BE-47F4-8DFE-4108D66E3B23}"/>
              </a:ext>
            </a:extLst>
          </p:cNvPr>
          <p:cNvPicPr>
            <a:picLocks noChangeAspect="1"/>
          </p:cNvPicPr>
          <p:nvPr/>
        </p:nvPicPr>
        <p:blipFill>
          <a:blip r:embed="rId3"/>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6911736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Abschlussfolie mit Bild">
    <p:spTree>
      <p:nvGrpSpPr>
        <p:cNvPr id="1" name=""/>
        <p:cNvGrpSpPr/>
        <p:nvPr/>
      </p:nvGrpSpPr>
      <p:grpSpPr>
        <a:xfrm>
          <a:off x="0" y="0"/>
          <a:ext cx="0" cy="0"/>
          <a:chOff x="0" y="0"/>
          <a:chExt cx="0" cy="0"/>
        </a:xfrm>
      </p:grpSpPr>
      <p:pic>
        <p:nvPicPr>
          <p:cNvPr id="43" name="Picture 3">
            <a:extLst>
              <a:ext uri="{FF2B5EF4-FFF2-40B4-BE49-F238E27FC236}">
                <a16:creationId xmlns:a16="http://schemas.microsoft.com/office/drawing/2014/main" id="{0C18C12A-30BC-4B47-AE66-813D0AB3D242}"/>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1"/>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425332497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0" name="Objekt 9"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13923" y="1701801"/>
            <a:ext cx="10938528" cy="954087"/>
          </a:xfrm>
          <a:prstGeom prst="rect">
            <a:avLst/>
          </a:prstGeom>
        </p:spPr>
        <p:txBody>
          <a:bodyPr lIns="0" rIns="0" anchor="t">
            <a:normAutofit/>
          </a:bodyPr>
          <a:lstStyle>
            <a:lvl1pPr marL="1587" indent="0" algn="l">
              <a:defRPr sz="2799" b="1">
                <a:solidFill>
                  <a:schemeClr val="bg1"/>
                </a:solidFill>
              </a:defRPr>
            </a:lvl1pPr>
          </a:lstStyle>
          <a:p>
            <a:r>
              <a:rPr lang="de-DE"/>
              <a:t>Vielen Dank für </a:t>
            </a:r>
            <a:br>
              <a:rPr lang="de-DE"/>
            </a:br>
            <a:r>
              <a:rPr lang="de-DE"/>
              <a:t>Ihre Aufmerksamkeit.</a:t>
            </a:r>
            <a:br>
              <a:rPr lang="de-DE"/>
            </a:br>
            <a:endParaRPr lang="de-DE"/>
          </a:p>
        </p:txBody>
      </p:sp>
      <p:pic>
        <p:nvPicPr>
          <p:cNvPr id="6" name="Grafik 5">
            <a:extLst>
              <a:ext uri="{FF2B5EF4-FFF2-40B4-BE49-F238E27FC236}">
                <a16:creationId xmlns:a16="http://schemas.microsoft.com/office/drawing/2014/main" id="{FD46ECE1-295F-480E-AA3D-0E79595E72B3}"/>
              </a:ext>
            </a:extLst>
          </p:cNvPr>
          <p:cNvPicPr>
            <a:picLocks noChangeAspect="1"/>
          </p:cNvPicPr>
          <p:nvPr/>
        </p:nvPicPr>
        <p:blipFill>
          <a:blip r:embed="rId7"/>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717644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Abschlussfolie mit Bildplatzhalt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610039301"/>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39" name="Bildplatzhalter 38">
            <a:extLst>
              <a:ext uri="{FF2B5EF4-FFF2-40B4-BE49-F238E27FC236}">
                <a16:creationId xmlns:a16="http://schemas.microsoft.com/office/drawing/2014/main" id="{D88EB7E1-7C4C-4FB3-87A6-4C48A879F97E}"/>
              </a:ext>
            </a:extLst>
          </p:cNvPr>
          <p:cNvSpPr>
            <a:spLocks noGrp="1"/>
          </p:cNvSpPr>
          <p:nvPr>
            <p:ph type="pic" sz="quarter" idx="10"/>
          </p:nvPr>
        </p:nvSpPr>
        <p:spPr>
          <a:xfrm>
            <a:off x="0" y="0"/>
            <a:ext cx="12196234" cy="6858000"/>
          </a:xfrm>
          <a:custGeom>
            <a:avLst/>
            <a:gdLst>
              <a:gd name="connsiteX0" fmla="*/ 0 w 12198350"/>
              <a:gd name="connsiteY0" fmla="*/ 0 h 6858000"/>
              <a:gd name="connsiteX1" fmla="*/ 12198350 w 12198350"/>
              <a:gd name="connsiteY1" fmla="*/ 0 h 6858000"/>
              <a:gd name="connsiteX2" fmla="*/ 12198350 w 12198350"/>
              <a:gd name="connsiteY2" fmla="*/ 370722 h 6858000"/>
              <a:gd name="connsiteX3" fmla="*/ 10365315 w 12198350"/>
              <a:gd name="connsiteY3" fmla="*/ 370722 h 6858000"/>
              <a:gd name="connsiteX4" fmla="*/ 10365315 w 12198350"/>
              <a:gd name="connsiteY4" fmla="*/ 990410 h 6858000"/>
              <a:gd name="connsiteX5" fmla="*/ 12198350 w 12198350"/>
              <a:gd name="connsiteY5" fmla="*/ 990410 h 6858000"/>
              <a:gd name="connsiteX6" fmla="*/ 12198350 w 12198350"/>
              <a:gd name="connsiteY6" fmla="*/ 6858000 h 6858000"/>
              <a:gd name="connsiteX7" fmla="*/ 0 w 1219835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858000">
                <a:moveTo>
                  <a:pt x="0" y="0"/>
                </a:moveTo>
                <a:lnTo>
                  <a:pt x="12198350" y="0"/>
                </a:lnTo>
                <a:lnTo>
                  <a:pt x="12198350" y="370722"/>
                </a:lnTo>
                <a:lnTo>
                  <a:pt x="10365315" y="370722"/>
                </a:lnTo>
                <a:lnTo>
                  <a:pt x="10365315" y="990410"/>
                </a:lnTo>
                <a:lnTo>
                  <a:pt x="12198350" y="990410"/>
                </a:lnTo>
                <a:lnTo>
                  <a:pt x="12198350" y="6858000"/>
                </a:lnTo>
                <a:lnTo>
                  <a:pt x="0" y="6858000"/>
                </a:lnTo>
                <a:close/>
              </a:path>
            </a:pathLst>
          </a:custGeom>
          <a:solidFill>
            <a:schemeClr val="bg1">
              <a:lumMod val="85000"/>
            </a:schemeClr>
          </a:solidFill>
        </p:spPr>
        <p:txBody>
          <a:bodyPr wrap="square">
            <a:noAutofit/>
          </a:bodyPr>
          <a:lstStyle>
            <a:lvl1pPr marL="0" indent="0">
              <a:buNone/>
              <a:defRPr/>
            </a:lvl1pPr>
          </a:lstStyle>
          <a:p>
            <a:r>
              <a:rPr lang="de-DE"/>
              <a:t>Bild durch Klicken auf Symbol hinzufügen</a:t>
            </a:r>
          </a:p>
        </p:txBody>
      </p:sp>
      <p:sp>
        <p:nvSpPr>
          <p:cNvPr id="2" name="Titel 1"/>
          <p:cNvSpPr>
            <a:spLocks noGrp="1"/>
          </p:cNvSpPr>
          <p:nvPr>
            <p:ph type="ctrTitle" hasCustomPrompt="1"/>
          </p:nvPr>
        </p:nvSpPr>
        <p:spPr bwMode="gray">
          <a:xfrm>
            <a:off x="913923" y="1701801"/>
            <a:ext cx="10938528" cy="954087"/>
          </a:xfrm>
          <a:prstGeom prst="rect">
            <a:avLst/>
          </a:prstGeom>
        </p:spPr>
        <p:txBody>
          <a:bodyPr lIns="0" rIns="0" anchor="t">
            <a:normAutofit/>
          </a:bodyPr>
          <a:lstStyle>
            <a:lvl1pPr marL="1587" indent="0" algn="l">
              <a:defRPr sz="2799" b="1">
                <a:solidFill>
                  <a:schemeClr val="bg1"/>
                </a:solidFill>
              </a:defRPr>
            </a:lvl1pPr>
          </a:lstStyle>
          <a:p>
            <a:r>
              <a:rPr lang="de-DE"/>
              <a:t>Vielen Dank für </a:t>
            </a:r>
            <a:br>
              <a:rPr lang="de-DE"/>
            </a:br>
            <a:r>
              <a:rPr lang="de-DE"/>
              <a:t>Ihre Aufmerksamkeit.</a:t>
            </a:r>
            <a:br>
              <a:rPr lang="de-DE"/>
            </a:br>
            <a:endParaRPr lang="de-DE"/>
          </a:p>
        </p:txBody>
      </p:sp>
      <p:pic>
        <p:nvPicPr>
          <p:cNvPr id="6" name="Grafik 5">
            <a:extLst>
              <a:ext uri="{FF2B5EF4-FFF2-40B4-BE49-F238E27FC236}">
                <a16:creationId xmlns:a16="http://schemas.microsoft.com/office/drawing/2014/main" id="{D81D8D44-24B5-4D9D-9394-1757BC71A9C1}"/>
              </a:ext>
            </a:extLst>
          </p:cNvPr>
          <p:cNvPicPr>
            <a:picLocks noChangeAspect="1"/>
          </p:cNvPicPr>
          <p:nvPr/>
        </p:nvPicPr>
        <p:blipFill>
          <a:blip r:embed="rId6"/>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535706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Inhalt">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339548" y="1701801"/>
            <a:ext cx="11512904"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7" name="Datumsplatzhalter 5">
            <a:extLst>
              <a:ext uri="{FF2B5EF4-FFF2-40B4-BE49-F238E27FC236}">
                <a16:creationId xmlns:a16="http://schemas.microsoft.com/office/drawing/2014/main" id="{0D80CDEC-D298-34C2-18B3-4D4FEB8C8691}"/>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0" name="Foliennummernplatzhalter 3">
            <a:extLst>
              <a:ext uri="{FF2B5EF4-FFF2-40B4-BE49-F238E27FC236}">
                <a16:creationId xmlns:a16="http://schemas.microsoft.com/office/drawing/2014/main" id="{85D942A8-94B7-FAD5-ED54-29C2166A25E2}"/>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1" name="Fußzeilenplatzhalter 1">
            <a:extLst>
              <a:ext uri="{FF2B5EF4-FFF2-40B4-BE49-F238E27FC236}">
                <a16:creationId xmlns:a16="http://schemas.microsoft.com/office/drawing/2014/main" id="{3F25B0EF-4ED2-C471-37BA-9291764F6B97}"/>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10023458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Inhalt">
    <p:spTree>
      <p:nvGrpSpPr>
        <p:cNvPr id="1" name=""/>
        <p:cNvGrpSpPr/>
        <p:nvPr/>
      </p:nvGrpSpPr>
      <p:grpSpPr>
        <a:xfrm>
          <a:off x="0" y="0"/>
          <a:ext cx="0" cy="0"/>
          <a:chOff x="0" y="0"/>
          <a:chExt cx="0" cy="0"/>
        </a:xfrm>
      </p:grpSpPr>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5" name="Fußzeilenplatzhalter 1">
            <a:extLst>
              <a:ext uri="{FF2B5EF4-FFF2-40B4-BE49-F238E27FC236}">
                <a16:creationId xmlns:a16="http://schemas.microsoft.com/office/drawing/2014/main" id="{47619960-A9D8-7CEF-CC3E-CA50745A3939}"/>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
        <p:nvSpPr>
          <p:cNvPr id="7" name="Datumsplatzhalter 5">
            <a:extLst>
              <a:ext uri="{FF2B5EF4-FFF2-40B4-BE49-F238E27FC236}">
                <a16:creationId xmlns:a16="http://schemas.microsoft.com/office/drawing/2014/main" id="{42657267-2261-D51F-C1A3-AA939F0BD8DF}"/>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0" name="Foliennummernplatzhalter 3">
            <a:extLst>
              <a:ext uri="{FF2B5EF4-FFF2-40B4-BE49-F238E27FC236}">
                <a16:creationId xmlns:a16="http://schemas.microsoft.com/office/drawing/2014/main" id="{BAA38113-868B-0EB1-C90A-F2F85FB5A166}"/>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Tree>
    <p:custDataLst>
      <p:tags r:id="rId1"/>
    </p:custDataLst>
    <p:extLst>
      <p:ext uri="{BB962C8B-B14F-4D97-AF65-F5344CB8AC3E}">
        <p14:creationId xmlns:p14="http://schemas.microsoft.com/office/powerpoint/2010/main" val="383128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el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622033671"/>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a:xfrm>
            <a:off x="904402" y="1701801"/>
            <a:ext cx="10948049" cy="954087"/>
          </a:xfrm>
          <a:prstGeom prst="rect">
            <a:avLst/>
          </a:prstGeom>
        </p:spPr>
        <p:txBody>
          <a:bodyPr lIns="0" rIns="0" anchor="t">
            <a:noAutofit/>
          </a:bodyPr>
          <a:lstStyle>
            <a:lvl1pPr marL="1587" indent="0" algn="l">
              <a:defRPr sz="2799"/>
            </a:lvl1pPr>
          </a:lstStyle>
          <a:p>
            <a:r>
              <a:rPr lang="de-DE"/>
              <a:t>Titelseite ohne Bild, Arial, 28pt</a:t>
            </a:r>
            <a:br>
              <a:rPr lang="de-DE"/>
            </a:br>
            <a:r>
              <a:rPr lang="de-DE" b="1"/>
              <a:t>Hervorhebung Aussage</a:t>
            </a:r>
            <a:endParaRPr lang="de-DE"/>
          </a:p>
        </p:txBody>
      </p:sp>
      <p:sp>
        <p:nvSpPr>
          <p:cNvPr id="3" name="Untertitel 2"/>
          <p:cNvSpPr>
            <a:spLocks noGrp="1"/>
          </p:cNvSpPr>
          <p:nvPr>
            <p:ph type="subTitle" idx="1" hasCustomPrompt="1"/>
          </p:nvPr>
        </p:nvSpPr>
        <p:spPr>
          <a:xfrm>
            <a:off x="904403" y="2660625"/>
            <a:ext cx="10948050" cy="642965"/>
          </a:xfrm>
        </p:spPr>
        <p:txBody>
          <a:bodyPr lIns="0" rIns="0" anchor="t" anchorCtr="0">
            <a:noAutofit/>
          </a:bodyPr>
          <a:lstStyle>
            <a:lvl1pPr marL="1587" indent="0" algn="l">
              <a:spcBef>
                <a:spcPts val="0"/>
              </a:spcBef>
              <a:buNone/>
              <a:defRPr sz="1399">
                <a:solidFill>
                  <a:schemeClr val="tx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sp useBgFill="1">
        <p:nvSpPr>
          <p:cNvPr id="42" name="Rectangle 33"/>
          <p:cNvSpPr>
            <a:spLocks noChangeArrowheads="1"/>
          </p:cNvSpPr>
          <p:nvPr userDrawn="1"/>
        </p:nvSpPr>
        <p:spPr bwMode="auto">
          <a:xfrm>
            <a:off x="3171" y="5911778"/>
            <a:ext cx="4694053" cy="553297"/>
          </a:xfrm>
          <a:prstGeom prst="rect">
            <a:avLst/>
          </a:prstGeom>
          <a:ln w="0">
            <a:noFill/>
            <a:prstDash val="solid"/>
            <a:miter lim="800000"/>
            <a:headEnd/>
            <a:tailEnd/>
          </a:ln>
        </p:spPr>
        <p:txBody>
          <a:bodyPr vert="horz" wrap="square" lIns="91392" tIns="45696" rIns="91392" bIns="45696" numCol="1" anchor="t" anchorCtr="0" compatLnSpc="1">
            <a:prstTxWarp prst="textNoShape">
              <a:avLst/>
            </a:prstTxWarp>
          </a:bodyPr>
          <a:lstStyle/>
          <a:p>
            <a:endParaRPr lang="de-DE" sz="1799"/>
          </a:p>
        </p:txBody>
      </p:sp>
      <p:pic>
        <p:nvPicPr>
          <p:cNvPr id="32" name="Picture 2" descr="L:\Daten\_SWM Corporate Design\1_Grundelemente\1.5_Claim und Puls\Puls\Dezente Variante\Puls links\Puls_SWM_dezent_links_RGB_Blau.png">
            <a:extLst>
              <a:ext uri="{FF2B5EF4-FFF2-40B4-BE49-F238E27FC236}">
                <a16:creationId xmlns:a16="http://schemas.microsoft.com/office/drawing/2014/main" id="{621E154B-2257-4D79-AF10-86D1F660ACBC}"/>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712193" y="5645921"/>
            <a:ext cx="2856409" cy="997089"/>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a:extLst>
              <a:ext uri="{FF2B5EF4-FFF2-40B4-BE49-F238E27FC236}">
                <a16:creationId xmlns:a16="http://schemas.microsoft.com/office/drawing/2014/main" id="{23337461-4BDA-4290-91EE-88046805D36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64130799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el 3">
    <p:spTree>
      <p:nvGrpSpPr>
        <p:cNvPr id="1" name=""/>
        <p:cNvGrpSpPr/>
        <p:nvPr/>
      </p:nvGrpSpPr>
      <p:grpSpPr>
        <a:xfrm>
          <a:off x="0" y="0"/>
          <a:ext cx="0" cy="0"/>
          <a:chOff x="0" y="0"/>
          <a:chExt cx="0" cy="0"/>
        </a:xfrm>
      </p:grpSpPr>
      <p:pic>
        <p:nvPicPr>
          <p:cNvPr id="13" name="Picture 3">
            <a:extLst>
              <a:ext uri="{FF2B5EF4-FFF2-40B4-BE49-F238E27FC236}">
                <a16:creationId xmlns:a16="http://schemas.microsoft.com/office/drawing/2014/main" id="{FD793710-675F-4998-BFC6-C4BAE72CAC7B}"/>
              </a:ext>
            </a:extLst>
          </p:cNvPr>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l="6665" t="12669" r="6665" b="7551"/>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24739182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pic>
        <p:nvPicPr>
          <p:cNvPr id="18" name="Grafik 17">
            <a:extLst>
              <a:ext uri="{FF2B5EF4-FFF2-40B4-BE49-F238E27FC236}">
                <a16:creationId xmlns:a16="http://schemas.microsoft.com/office/drawing/2014/main" id="{A0F1CAFE-3D58-4F71-A4B1-6A9EC4B3C31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854598" y="5922947"/>
            <a:ext cx="3635326" cy="431396"/>
          </a:xfrm>
          <a:prstGeom prst="rect">
            <a:avLst/>
          </a:prstGeom>
        </p:spPr>
      </p:pic>
      <p:grpSp>
        <p:nvGrpSpPr>
          <p:cNvPr id="22" name="Gruppieren 21">
            <a:extLst>
              <a:ext uri="{FF2B5EF4-FFF2-40B4-BE49-F238E27FC236}">
                <a16:creationId xmlns:a16="http://schemas.microsoft.com/office/drawing/2014/main" id="{4AF94017-0B35-439C-8D9C-A77458674EC6}"/>
              </a:ext>
            </a:extLst>
          </p:cNvPr>
          <p:cNvGrpSpPr/>
          <p:nvPr userDrawn="1"/>
        </p:nvGrpSpPr>
        <p:grpSpPr>
          <a:xfrm>
            <a:off x="60669" y="12701"/>
            <a:ext cx="7993287" cy="1406568"/>
            <a:chOff x="60701" y="3176"/>
            <a:chExt cx="7997450" cy="1406568"/>
          </a:xfrm>
        </p:grpSpPr>
        <p:pic>
          <p:nvPicPr>
            <p:cNvPr id="23" name="Picture 6" descr="L:\Projekte\01_Unternehmen\04_Corporate-Medien\PPT Präsentationen\9033_PPT Vorlage mit Puls\2_Entwicklung\Material\Puls etc\Puls_SWM_lang_16-9.png">
              <a:extLst>
                <a:ext uri="{FF2B5EF4-FFF2-40B4-BE49-F238E27FC236}">
                  <a16:creationId xmlns:a16="http://schemas.microsoft.com/office/drawing/2014/main" id="{2420FEF3-4C5B-4A40-BB08-B685365746F6}"/>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49">
              <a:extLst>
                <a:ext uri="{FF2B5EF4-FFF2-40B4-BE49-F238E27FC236}">
                  <a16:creationId xmlns:a16="http://schemas.microsoft.com/office/drawing/2014/main" id="{BFB48DB5-01B4-4520-9A89-5281DBAC51F8}"/>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1" name="Grafik 10">
            <a:extLst>
              <a:ext uri="{FF2B5EF4-FFF2-40B4-BE49-F238E27FC236}">
                <a16:creationId xmlns:a16="http://schemas.microsoft.com/office/drawing/2014/main" id="{96D11BC4-57F4-4231-8656-AF9FBD1703A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513247798"/>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1_Titel 7">
    <p:spTree>
      <p:nvGrpSpPr>
        <p:cNvPr id="1" name=""/>
        <p:cNvGrpSpPr/>
        <p:nvPr/>
      </p:nvGrpSpPr>
      <p:grpSpPr>
        <a:xfrm>
          <a:off x="0" y="0"/>
          <a:ext cx="0" cy="0"/>
          <a:chOff x="0" y="0"/>
          <a:chExt cx="0" cy="0"/>
        </a:xfrm>
      </p:grpSpPr>
      <p:pic>
        <p:nvPicPr>
          <p:cNvPr id="6" name="Grafik 5" descr="Ein Bild, das Gras, Himmel, draußen, Natur enthält.&#10;&#10;Automatisch generierte Beschreibung">
            <a:extLst>
              <a:ext uri="{FF2B5EF4-FFF2-40B4-BE49-F238E27FC236}">
                <a16:creationId xmlns:a16="http://schemas.microsoft.com/office/drawing/2014/main" id="{FDB88C17-F789-4901-AD4A-CBA550FB306B}"/>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110140735"/>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a:effectLst>
            <a:outerShdw blurRad="304800" dir="2700000" algn="tl" rotWithShape="0">
              <a:srgbClr val="1C3D6E">
                <a:alpha val="85882"/>
              </a:srgbClr>
            </a:outerShdw>
          </a:effectLst>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a:effectLst>
            <a:outerShdw blurRad="101600" dist="38100" dir="2700000" algn="tl" rotWithShape="0">
              <a:prstClr val="black">
                <a:alpha val="66000"/>
              </a:prstClr>
            </a:outerShdw>
          </a:effectLst>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grpSp>
        <p:nvGrpSpPr>
          <p:cNvPr id="14" name="Gruppieren 13">
            <a:extLst>
              <a:ext uri="{FF2B5EF4-FFF2-40B4-BE49-F238E27FC236}">
                <a16:creationId xmlns:a16="http://schemas.microsoft.com/office/drawing/2014/main" id="{092FEBA5-D837-41C5-ABCC-BD7D5B10C686}"/>
              </a:ext>
            </a:extLst>
          </p:cNvPr>
          <p:cNvGrpSpPr/>
          <p:nvPr userDrawn="1"/>
        </p:nvGrpSpPr>
        <p:grpSpPr>
          <a:xfrm>
            <a:off x="60669" y="12701"/>
            <a:ext cx="7993287" cy="1406568"/>
            <a:chOff x="60701" y="3176"/>
            <a:chExt cx="7997450" cy="1406568"/>
          </a:xfrm>
        </p:grpSpPr>
        <p:pic>
          <p:nvPicPr>
            <p:cNvPr id="15" name="Picture 6" descr="L:\Projekte\01_Unternehmen\04_Corporate-Medien\PPT Präsentationen\9033_PPT Vorlage mit Puls\2_Entwicklung\Material\Puls etc\Puls_SWM_lang_16-9.png">
              <a:extLst>
                <a:ext uri="{FF2B5EF4-FFF2-40B4-BE49-F238E27FC236}">
                  <a16:creationId xmlns:a16="http://schemas.microsoft.com/office/drawing/2014/main" id="{12270D29-675A-4162-BD80-19E348B65AF2}"/>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49">
              <a:extLst>
                <a:ext uri="{FF2B5EF4-FFF2-40B4-BE49-F238E27FC236}">
                  <a16:creationId xmlns:a16="http://schemas.microsoft.com/office/drawing/2014/main" id="{B8BD4FA7-1876-4938-88EA-153496998B91}"/>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0" name="Grafik 9">
            <a:extLst>
              <a:ext uri="{FF2B5EF4-FFF2-40B4-BE49-F238E27FC236}">
                <a16:creationId xmlns:a16="http://schemas.microsoft.com/office/drawing/2014/main" id="{AE9EF944-FC57-4D6D-8CBC-60179658E6C4}"/>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254177080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8">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143555F8-C112-4E7F-8915-A9A87ECB854C}"/>
              </a:ext>
            </a:extLst>
          </p:cNvPr>
          <p:cNvSpPr>
            <a:spLocks noGrp="1"/>
          </p:cNvSpPr>
          <p:nvPr>
            <p:ph type="pic" sz="quarter" idx="10"/>
          </p:nvPr>
        </p:nvSpPr>
        <p:spPr>
          <a:xfrm>
            <a:off x="0" y="0"/>
            <a:ext cx="12192000" cy="6858000"/>
          </a:xfrm>
          <a:custGeom>
            <a:avLst/>
            <a:gdLst>
              <a:gd name="connsiteX0" fmla="*/ 0 w 12198350"/>
              <a:gd name="connsiteY0" fmla="*/ 0 h 7050088"/>
              <a:gd name="connsiteX1" fmla="*/ 12198350 w 12198350"/>
              <a:gd name="connsiteY1" fmla="*/ 0 h 7050088"/>
              <a:gd name="connsiteX2" fmla="*/ 12198350 w 12198350"/>
              <a:gd name="connsiteY2" fmla="*/ 362810 h 7050088"/>
              <a:gd name="connsiteX3" fmla="*/ 10369551 w 12198350"/>
              <a:gd name="connsiteY3" fmla="*/ 362810 h 7050088"/>
              <a:gd name="connsiteX4" fmla="*/ 10369551 w 12198350"/>
              <a:gd name="connsiteY4" fmla="*/ 982498 h 7050088"/>
              <a:gd name="connsiteX5" fmla="*/ 12198350 w 12198350"/>
              <a:gd name="connsiteY5" fmla="*/ 982498 h 7050088"/>
              <a:gd name="connsiteX6" fmla="*/ 12198350 w 12198350"/>
              <a:gd name="connsiteY6" fmla="*/ 7050088 h 7050088"/>
              <a:gd name="connsiteX7" fmla="*/ 0 w 12198350"/>
              <a:gd name="connsiteY7" fmla="*/ 7050088 h 70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7050088">
                <a:moveTo>
                  <a:pt x="0" y="0"/>
                </a:moveTo>
                <a:lnTo>
                  <a:pt x="12198350" y="0"/>
                </a:lnTo>
                <a:lnTo>
                  <a:pt x="12198350" y="362810"/>
                </a:lnTo>
                <a:lnTo>
                  <a:pt x="10369551" y="362810"/>
                </a:lnTo>
                <a:lnTo>
                  <a:pt x="10369551" y="982498"/>
                </a:lnTo>
                <a:lnTo>
                  <a:pt x="12198350" y="982498"/>
                </a:lnTo>
                <a:lnTo>
                  <a:pt x="12198350" y="7050088"/>
                </a:lnTo>
                <a:lnTo>
                  <a:pt x="0" y="7050088"/>
                </a:lnTo>
                <a:close/>
              </a:path>
            </a:pathLst>
          </a:custGeom>
          <a:solidFill>
            <a:schemeClr val="bg1">
              <a:lumMod val="85000"/>
            </a:schemeClr>
          </a:solidFill>
        </p:spPr>
        <p:txBody>
          <a:bodyPr wrap="square">
            <a:noAutofit/>
          </a:bodyPr>
          <a:lstStyle/>
          <a:p>
            <a:endParaRPr lang="de-DE"/>
          </a:p>
        </p:txBody>
      </p:sp>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147882388"/>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p:spPr>
        <p:txBody>
          <a:bodyPr lIns="0" rIns="0" anchor="t">
            <a:noAutofit/>
          </a:bodyPr>
          <a:lstStyle>
            <a:lvl1pPr marL="1587" indent="0" algn="l">
              <a:defRPr sz="2799">
                <a:solidFill>
                  <a:schemeClr val="bg1"/>
                </a:solidFill>
              </a:defRPr>
            </a:lvl1pPr>
          </a:lstStyle>
          <a:p>
            <a:r>
              <a:rPr lang="de-DE"/>
              <a:t>Titelseite mit Bildplatzhalter,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p:spPr>
        <p:txBody>
          <a:bodyPr lIns="0" rIns="0" anchor="t" anchorCtr="0">
            <a:noAutofit/>
          </a:bodyPr>
          <a:lstStyle>
            <a:lvl1pPr marL="1587" indent="0" algn="l">
              <a:spcBef>
                <a:spcPts val="0"/>
              </a:spcBef>
              <a:spcAft>
                <a:spcPts val="0"/>
              </a:spcAft>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pic>
        <p:nvPicPr>
          <p:cNvPr id="8" name="Grafik 7">
            <a:extLst>
              <a:ext uri="{FF2B5EF4-FFF2-40B4-BE49-F238E27FC236}">
                <a16:creationId xmlns:a16="http://schemas.microsoft.com/office/drawing/2014/main" id="{3758A135-BC09-4B07-9C7B-838A33C3E0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347049694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trenn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EBE736-3688-FE3E-0475-9BD6F043703B}"/>
              </a:ext>
            </a:extLst>
          </p:cNvPr>
          <p:cNvSpPr>
            <a:spLocks noGrp="1"/>
          </p:cNvSpPr>
          <p:nvPr>
            <p:ph type="title" hasCustomPrompt="1"/>
          </p:nvPr>
        </p:nvSpPr>
        <p:spPr>
          <a:xfrm>
            <a:off x="339548" y="1701800"/>
            <a:ext cx="11512905" cy="922322"/>
          </a:xfrm>
          <a:prstGeom prst="rect">
            <a:avLst/>
          </a:prstGeom>
        </p:spPr>
        <p:txBody>
          <a:bodyPr lIns="0" tIns="0" rIns="0" bIns="0" anchor="t">
            <a:normAutofit/>
          </a:bodyPr>
          <a:lstStyle>
            <a:lvl1pPr marL="0" indent="0" algn="l">
              <a:defRPr sz="2799" b="1" cap="none" baseline="0"/>
            </a:lvl1pPr>
          </a:lstStyle>
          <a:p>
            <a:r>
              <a:rPr lang="de-DE"/>
              <a:t>Mastertitelformat bearbeiten</a:t>
            </a:r>
            <a:br>
              <a:rPr lang="de-DE"/>
            </a:br>
            <a:endParaRPr lang="de-DE"/>
          </a:p>
        </p:txBody>
      </p:sp>
      <p:sp>
        <p:nvSpPr>
          <p:cNvPr id="4" name="Datumsplatzhalter 5">
            <a:extLst>
              <a:ext uri="{FF2B5EF4-FFF2-40B4-BE49-F238E27FC236}">
                <a16:creationId xmlns:a16="http://schemas.microsoft.com/office/drawing/2014/main" id="{280785AA-2F32-3EA3-251A-CD6004759A4E}"/>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8" name="Foliennummernplatzhalter 3">
            <a:extLst>
              <a:ext uri="{FF2B5EF4-FFF2-40B4-BE49-F238E27FC236}">
                <a16:creationId xmlns:a16="http://schemas.microsoft.com/office/drawing/2014/main" id="{EB5FE504-C8D6-72DE-9901-5C3DF06C2E95}"/>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9" name="Fußzeilenplatzhalter 1">
            <a:extLst>
              <a:ext uri="{FF2B5EF4-FFF2-40B4-BE49-F238E27FC236}">
                <a16:creationId xmlns:a16="http://schemas.microsoft.com/office/drawing/2014/main" id="{E0AC6FD1-33B4-69DD-942F-837D9D0C81DB}"/>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210308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 3">
    <p:spTree>
      <p:nvGrpSpPr>
        <p:cNvPr id="1" name=""/>
        <p:cNvGrpSpPr/>
        <p:nvPr/>
      </p:nvGrpSpPr>
      <p:grpSpPr>
        <a:xfrm>
          <a:off x="0" y="0"/>
          <a:ext cx="0" cy="0"/>
          <a:chOff x="0" y="0"/>
          <a:chExt cx="0" cy="0"/>
        </a:xfrm>
      </p:grpSpPr>
      <p:pic>
        <p:nvPicPr>
          <p:cNvPr id="13" name="Picture 3">
            <a:extLst>
              <a:ext uri="{FF2B5EF4-FFF2-40B4-BE49-F238E27FC236}">
                <a16:creationId xmlns:a16="http://schemas.microsoft.com/office/drawing/2014/main" id="{FD793710-675F-4998-BFC6-C4BAE72CAC7B}"/>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6665" t="12669" r="6665" b="7551"/>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24739182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pic>
        <p:nvPicPr>
          <p:cNvPr id="18" name="Grafik 17">
            <a:extLst>
              <a:ext uri="{FF2B5EF4-FFF2-40B4-BE49-F238E27FC236}">
                <a16:creationId xmlns:a16="http://schemas.microsoft.com/office/drawing/2014/main" id="{A0F1CAFE-3D58-4F71-A4B1-6A9EC4B3C31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54598" y="5922947"/>
            <a:ext cx="3635326" cy="431396"/>
          </a:xfrm>
          <a:prstGeom prst="rect">
            <a:avLst/>
          </a:prstGeom>
        </p:spPr>
      </p:pic>
      <p:grpSp>
        <p:nvGrpSpPr>
          <p:cNvPr id="22" name="Gruppieren 21">
            <a:extLst>
              <a:ext uri="{FF2B5EF4-FFF2-40B4-BE49-F238E27FC236}">
                <a16:creationId xmlns:a16="http://schemas.microsoft.com/office/drawing/2014/main" id="{4AF94017-0B35-439C-8D9C-A77458674EC6}"/>
              </a:ext>
            </a:extLst>
          </p:cNvPr>
          <p:cNvGrpSpPr/>
          <p:nvPr/>
        </p:nvGrpSpPr>
        <p:grpSpPr>
          <a:xfrm>
            <a:off x="60669" y="12701"/>
            <a:ext cx="7993287" cy="1406568"/>
            <a:chOff x="60701" y="3176"/>
            <a:chExt cx="7997450" cy="1406568"/>
          </a:xfrm>
        </p:grpSpPr>
        <p:pic>
          <p:nvPicPr>
            <p:cNvPr id="23" name="Picture 6" descr="L:\Projekte\01_Unternehmen\04_Corporate-Medien\PPT Präsentationen\9033_PPT Vorlage mit Puls\2_Entwicklung\Material\Puls etc\Puls_SWM_lang_16-9.png">
              <a:extLst>
                <a:ext uri="{FF2B5EF4-FFF2-40B4-BE49-F238E27FC236}">
                  <a16:creationId xmlns:a16="http://schemas.microsoft.com/office/drawing/2014/main" id="{2420FEF3-4C5B-4A40-BB08-B685365746F6}"/>
                </a:ext>
              </a:extLst>
            </p:cNvPr>
            <p:cNvPicPr>
              <a:picLocks noChangeAspect="1" noChangeArrowheads="1"/>
            </p:cNvPicPr>
            <p:nvPr userDrawn="1"/>
          </p:nvPicPr>
          <p:blipFill rotWithShape="1">
            <a:blip r:embed="rId8"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49">
              <a:extLst>
                <a:ext uri="{FF2B5EF4-FFF2-40B4-BE49-F238E27FC236}">
                  <a16:creationId xmlns:a16="http://schemas.microsoft.com/office/drawing/2014/main" id="{BFB48DB5-01B4-4520-9A89-5281DBAC51F8}"/>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1" name="Grafik 10">
            <a:extLst>
              <a:ext uri="{FF2B5EF4-FFF2-40B4-BE49-F238E27FC236}">
                <a16:creationId xmlns:a16="http://schemas.microsoft.com/office/drawing/2014/main" id="{96D11BC4-57F4-4231-8656-AF9FBD1703AD}"/>
              </a:ext>
            </a:extLst>
          </p:cNvPr>
          <p:cNvPicPr>
            <a:picLocks noChangeAspect="1"/>
          </p:cNvPicPr>
          <p:nvPr/>
        </p:nvPicPr>
        <p:blipFill>
          <a:blip r:embed="rId9"/>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35515368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apiteltrennfolie_mit_Bild">
    <p:spTree>
      <p:nvGrpSpPr>
        <p:cNvPr id="1" name=""/>
        <p:cNvGrpSpPr/>
        <p:nvPr/>
      </p:nvGrpSpPr>
      <p:grpSpPr>
        <a:xfrm>
          <a:off x="0" y="0"/>
          <a:ext cx="0" cy="0"/>
          <a:chOff x="0" y="0"/>
          <a:chExt cx="0" cy="0"/>
        </a:xfrm>
      </p:grpSpPr>
      <p:pic>
        <p:nvPicPr>
          <p:cNvPr id="5" name="Picture 3">
            <a:extLst>
              <a:ext uri="{FF2B5EF4-FFF2-40B4-BE49-F238E27FC236}">
                <a16:creationId xmlns:a16="http://schemas.microsoft.com/office/drawing/2014/main" id="{D379F346-2FCC-3022-B593-C6E17B82D8A2}"/>
              </a:ext>
            </a:extLst>
          </p:cNvPr>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l="6665" t="12669" r="6665" b="7551"/>
          <a:stretch/>
        </p:blipFill>
        <p:spPr bwMode="auto">
          <a:xfrm>
            <a:off x="0" y="0"/>
            <a:ext cx="1218882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Grafik 6">
            <a:extLst>
              <a:ext uri="{FF2B5EF4-FFF2-40B4-BE49-F238E27FC236}">
                <a16:creationId xmlns:a16="http://schemas.microsoft.com/office/drawing/2014/main" id="{747E8F38-8679-DF9A-A65F-BA27EC7D11F7}"/>
              </a:ext>
            </a:extLst>
          </p:cNvPr>
          <p:cNvPicPr>
            <a:picLocks noChangeAspect="1"/>
          </p:cNvPicPr>
          <p:nvPr userDrawn="1"/>
        </p:nvPicPr>
        <p:blipFill>
          <a:blip r:embed="rId5">
            <a:alphaModFix amt="40000"/>
            <a:extLst>
              <a:ext uri="{96DAC541-7B7A-43D3-8B79-37D633B846F1}">
                <asvg:svgBlip xmlns:asvg="http://schemas.microsoft.com/office/drawing/2016/SVG/main" r:embed="rId6"/>
              </a:ext>
            </a:extLst>
          </a:blip>
          <a:stretch>
            <a:fillRect/>
          </a:stretch>
        </p:blipFill>
        <p:spPr>
          <a:xfrm>
            <a:off x="342545" y="3344953"/>
            <a:ext cx="11385810" cy="3318524"/>
          </a:xfrm>
          <a:prstGeom prst="rect">
            <a:avLst/>
          </a:prstGeom>
        </p:spPr>
      </p:pic>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2160484133"/>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6" name="Objekt 5" hidden="1"/>
                      <p:cNvPicPr/>
                      <p:nvPr/>
                    </p:nvPicPr>
                    <p:blipFill>
                      <a:blip r:embed="rId8"/>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title" hasCustomPrompt="1"/>
          </p:nvPr>
        </p:nvSpPr>
        <p:spPr>
          <a:xfrm>
            <a:off x="339548" y="1701800"/>
            <a:ext cx="11512904" cy="922322"/>
          </a:xfrm>
          <a:prstGeom prst="rect">
            <a:avLst/>
          </a:prstGeom>
        </p:spPr>
        <p:txBody>
          <a:bodyPr lIns="0" tIns="0" rIns="0" bIns="0" anchor="t">
            <a:normAutofit/>
          </a:bodyPr>
          <a:lstStyle>
            <a:lvl1pPr marL="0" indent="0" algn="l">
              <a:defRPr sz="2799" b="1" cap="none" baseline="0">
                <a:solidFill>
                  <a:schemeClr val="bg1"/>
                </a:solidFill>
              </a:defRPr>
            </a:lvl1pPr>
          </a:lstStyle>
          <a:p>
            <a:r>
              <a:rPr lang="de-DE"/>
              <a:t>Mastertitelformat bearbeiten</a:t>
            </a:r>
            <a:br>
              <a:rPr lang="de-DE"/>
            </a:br>
            <a:endParaRPr lang="de-DE"/>
          </a:p>
        </p:txBody>
      </p:sp>
    </p:spTree>
    <p:custDataLst>
      <p:tags r:id="rId1"/>
    </p:custDataLst>
    <p:extLst>
      <p:ext uri="{BB962C8B-B14F-4D97-AF65-F5344CB8AC3E}">
        <p14:creationId xmlns:p14="http://schemas.microsoft.com/office/powerpoint/2010/main" val="7973400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Inhalt">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339548" y="1701801"/>
            <a:ext cx="11512904"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7" name="Datumsplatzhalter 5">
            <a:extLst>
              <a:ext uri="{FF2B5EF4-FFF2-40B4-BE49-F238E27FC236}">
                <a16:creationId xmlns:a16="http://schemas.microsoft.com/office/drawing/2014/main" id="{0D80CDEC-D298-34C2-18B3-4D4FEB8C8691}"/>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0" name="Foliennummernplatzhalter 3">
            <a:extLst>
              <a:ext uri="{FF2B5EF4-FFF2-40B4-BE49-F238E27FC236}">
                <a16:creationId xmlns:a16="http://schemas.microsoft.com/office/drawing/2014/main" id="{85D942A8-94B7-FAD5-ED54-29C2166A25E2}"/>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1" name="Fußzeilenplatzhalter 1">
            <a:extLst>
              <a:ext uri="{FF2B5EF4-FFF2-40B4-BE49-F238E27FC236}">
                <a16:creationId xmlns:a16="http://schemas.microsoft.com/office/drawing/2014/main" id="{3F25B0EF-4ED2-C471-37BA-9291764F6B97}"/>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16504356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nhalt">
    <p:spTree>
      <p:nvGrpSpPr>
        <p:cNvPr id="1" name=""/>
        <p:cNvGrpSpPr/>
        <p:nvPr/>
      </p:nvGrpSpPr>
      <p:grpSpPr>
        <a:xfrm>
          <a:off x="0" y="0"/>
          <a:ext cx="0" cy="0"/>
          <a:chOff x="0" y="0"/>
          <a:chExt cx="0" cy="0"/>
        </a:xfrm>
      </p:grpSpPr>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5" name="Fußzeilenplatzhalter 1">
            <a:extLst>
              <a:ext uri="{FF2B5EF4-FFF2-40B4-BE49-F238E27FC236}">
                <a16:creationId xmlns:a16="http://schemas.microsoft.com/office/drawing/2014/main" id="{47619960-A9D8-7CEF-CC3E-CA50745A3939}"/>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
        <p:nvSpPr>
          <p:cNvPr id="7" name="Datumsplatzhalter 5">
            <a:extLst>
              <a:ext uri="{FF2B5EF4-FFF2-40B4-BE49-F238E27FC236}">
                <a16:creationId xmlns:a16="http://schemas.microsoft.com/office/drawing/2014/main" id="{42657267-2261-D51F-C1A3-AA939F0BD8DF}"/>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0" name="Foliennummernplatzhalter 3">
            <a:extLst>
              <a:ext uri="{FF2B5EF4-FFF2-40B4-BE49-F238E27FC236}">
                <a16:creationId xmlns:a16="http://schemas.microsoft.com/office/drawing/2014/main" id="{BAA38113-868B-0EB1-C90A-F2F85FB5A166}"/>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Tree>
    <p:custDataLst>
      <p:tags r:id="rId1"/>
    </p:custDataLst>
    <p:extLst>
      <p:ext uri="{BB962C8B-B14F-4D97-AF65-F5344CB8AC3E}">
        <p14:creationId xmlns:p14="http://schemas.microsoft.com/office/powerpoint/2010/main" val="34447110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halt_Bild">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339548" y="5098212"/>
            <a:ext cx="11512904" cy="1139076"/>
          </a:xfrm>
        </p:spPr>
        <p:txBody>
          <a:bodyPr/>
          <a:lstStyle/>
          <a:p>
            <a:pPr lvl="0"/>
            <a:r>
              <a:rPr lang="de-DE"/>
              <a:t>Textmasterformat bearbeiten</a:t>
            </a:r>
          </a:p>
          <a:p>
            <a:pPr lvl="1"/>
            <a:r>
              <a:rPr lang="de-DE"/>
              <a:t>Zweite Ebene</a:t>
            </a:r>
          </a:p>
        </p:txBody>
      </p:sp>
      <p:sp>
        <p:nvSpPr>
          <p:cNvPr id="7" name="Bildplatzhalter 7"/>
          <p:cNvSpPr>
            <a:spLocks noGrp="1"/>
          </p:cNvSpPr>
          <p:nvPr>
            <p:ph type="pic" sz="quarter" idx="12"/>
          </p:nvPr>
        </p:nvSpPr>
        <p:spPr>
          <a:xfrm>
            <a:off x="339548" y="1701800"/>
            <a:ext cx="11512904" cy="32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8" name="Titel 7"/>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10" name="Datumsplatzhalter 5">
            <a:extLst>
              <a:ext uri="{FF2B5EF4-FFF2-40B4-BE49-F238E27FC236}">
                <a16:creationId xmlns:a16="http://schemas.microsoft.com/office/drawing/2014/main" id="{04C56C93-1B8F-BBB7-1739-A4FC9D566662}"/>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1" name="Foliennummernplatzhalter 3">
            <a:extLst>
              <a:ext uri="{FF2B5EF4-FFF2-40B4-BE49-F238E27FC236}">
                <a16:creationId xmlns:a16="http://schemas.microsoft.com/office/drawing/2014/main" id="{A4CAE342-8E10-D8D0-1685-D496EFD1E21D}"/>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2" name="Fußzeilenplatzhalter 1">
            <a:extLst>
              <a:ext uri="{FF2B5EF4-FFF2-40B4-BE49-F238E27FC236}">
                <a16:creationId xmlns:a16="http://schemas.microsoft.com/office/drawing/2014/main" id="{C39A2846-CEDF-601F-43F2-74387C8417C4}"/>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4573107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halt_Bild_2">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339548" y="4028536"/>
            <a:ext cx="11512904" cy="220875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Bildplatzhalter 7"/>
          <p:cNvSpPr>
            <a:spLocks noGrp="1"/>
          </p:cNvSpPr>
          <p:nvPr>
            <p:ph type="pic" sz="quarter" idx="12"/>
          </p:nvPr>
        </p:nvSpPr>
        <p:spPr>
          <a:xfrm>
            <a:off x="339549" y="1701800"/>
            <a:ext cx="5648503" cy="216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8" name="Bildplatzhalter 7"/>
          <p:cNvSpPr>
            <a:spLocks noGrp="1"/>
          </p:cNvSpPr>
          <p:nvPr>
            <p:ph type="pic" sz="quarter" idx="13"/>
          </p:nvPr>
        </p:nvSpPr>
        <p:spPr>
          <a:xfrm>
            <a:off x="6201833" y="1701800"/>
            <a:ext cx="5650619" cy="216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10" name="Datumsplatzhalter 5">
            <a:extLst>
              <a:ext uri="{FF2B5EF4-FFF2-40B4-BE49-F238E27FC236}">
                <a16:creationId xmlns:a16="http://schemas.microsoft.com/office/drawing/2014/main" id="{0FA19AAD-AC41-8698-7CE7-9E8F577EE0DE}"/>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2" name="Foliennummernplatzhalter 3">
            <a:extLst>
              <a:ext uri="{FF2B5EF4-FFF2-40B4-BE49-F238E27FC236}">
                <a16:creationId xmlns:a16="http://schemas.microsoft.com/office/drawing/2014/main" id="{D5FACD7C-6062-4006-B429-E2BA6F958903}"/>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3" name="Fußzeilenplatzhalter 1">
            <a:extLst>
              <a:ext uri="{FF2B5EF4-FFF2-40B4-BE49-F238E27FC236}">
                <a16:creationId xmlns:a16="http://schemas.microsoft.com/office/drawing/2014/main" id="{4A30ED5D-5AEE-DF1A-07A1-BD38809D1232}"/>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2628098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halt_Bild_3">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4261805" y="1701800"/>
            <a:ext cx="7590647"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3"/>
          </p:nvPr>
        </p:nvSpPr>
        <p:spPr>
          <a:xfrm>
            <a:off x="339548" y="1701800"/>
            <a:ext cx="3706470" cy="4535488"/>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9" name="Datumsplatzhalter 5">
            <a:extLst>
              <a:ext uri="{FF2B5EF4-FFF2-40B4-BE49-F238E27FC236}">
                <a16:creationId xmlns:a16="http://schemas.microsoft.com/office/drawing/2014/main" id="{EB75B98A-88A8-7009-8FE5-8FCA7D958F9D}"/>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1" name="Foliennummernplatzhalter 3">
            <a:extLst>
              <a:ext uri="{FF2B5EF4-FFF2-40B4-BE49-F238E27FC236}">
                <a16:creationId xmlns:a16="http://schemas.microsoft.com/office/drawing/2014/main" id="{8E8B984F-D197-CF7F-AFFB-417FF42BA6E4}"/>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2" name="Fußzeilenplatzhalter 1">
            <a:extLst>
              <a:ext uri="{FF2B5EF4-FFF2-40B4-BE49-F238E27FC236}">
                <a16:creationId xmlns:a16="http://schemas.microsoft.com/office/drawing/2014/main" id="{5856E182-DA94-A74C-BC22-724D741FA470}"/>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3336862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nhalt_Bild_5">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339547" y="1701800"/>
            <a:ext cx="7609688"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8" name="Bildplatzhalter 7"/>
          <p:cNvSpPr>
            <a:spLocks noGrp="1"/>
          </p:cNvSpPr>
          <p:nvPr>
            <p:ph type="pic" sz="quarter" idx="13"/>
          </p:nvPr>
        </p:nvSpPr>
        <p:spPr>
          <a:xfrm>
            <a:off x="8165023" y="1701800"/>
            <a:ext cx="3687429" cy="4535488"/>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9" name="Datumsplatzhalter 5">
            <a:extLst>
              <a:ext uri="{FF2B5EF4-FFF2-40B4-BE49-F238E27FC236}">
                <a16:creationId xmlns:a16="http://schemas.microsoft.com/office/drawing/2014/main" id="{159E1DC4-87E2-E0E2-D860-620FB55D3D47}"/>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1" name="Foliennummernplatzhalter 3">
            <a:extLst>
              <a:ext uri="{FF2B5EF4-FFF2-40B4-BE49-F238E27FC236}">
                <a16:creationId xmlns:a16="http://schemas.microsoft.com/office/drawing/2014/main" id="{0C5E6F6A-F5F1-104D-1C5D-328B667D2DF7}"/>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2" name="Fußzeilenplatzhalter 1">
            <a:extLst>
              <a:ext uri="{FF2B5EF4-FFF2-40B4-BE49-F238E27FC236}">
                <a16:creationId xmlns:a16="http://schemas.microsoft.com/office/drawing/2014/main" id="{7A7FEE7E-9F75-AEA1-AE6D-20F236AC6C5F}"/>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15416870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halt_Bild_6">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4261805" y="1701800"/>
            <a:ext cx="7590647"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8" name="Bildplatzhalter 7"/>
          <p:cNvSpPr>
            <a:spLocks noGrp="1"/>
          </p:cNvSpPr>
          <p:nvPr>
            <p:ph type="pic" sz="quarter" idx="13"/>
          </p:nvPr>
        </p:nvSpPr>
        <p:spPr>
          <a:xfrm>
            <a:off x="339548" y="1701800"/>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7" name="Bildplatzhalter 7"/>
          <p:cNvSpPr>
            <a:spLocks noGrp="1"/>
          </p:cNvSpPr>
          <p:nvPr>
            <p:ph type="pic" sz="quarter" idx="14"/>
          </p:nvPr>
        </p:nvSpPr>
        <p:spPr>
          <a:xfrm>
            <a:off x="339548" y="3249544"/>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9" name="Bildplatzhalter 7"/>
          <p:cNvSpPr>
            <a:spLocks noGrp="1"/>
          </p:cNvSpPr>
          <p:nvPr>
            <p:ph type="pic" sz="quarter" idx="15"/>
          </p:nvPr>
        </p:nvSpPr>
        <p:spPr>
          <a:xfrm>
            <a:off x="339548" y="4797288"/>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1" name="Datumsplatzhalter 5">
            <a:extLst>
              <a:ext uri="{FF2B5EF4-FFF2-40B4-BE49-F238E27FC236}">
                <a16:creationId xmlns:a16="http://schemas.microsoft.com/office/drawing/2014/main" id="{6024A39F-53B5-7961-6C64-440D3904C6EE}"/>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3" name="Foliennummernplatzhalter 3">
            <a:extLst>
              <a:ext uri="{FF2B5EF4-FFF2-40B4-BE49-F238E27FC236}">
                <a16:creationId xmlns:a16="http://schemas.microsoft.com/office/drawing/2014/main" id="{0C7EA0B1-ACCE-BBA6-E778-021F0FFA33F1}"/>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4" name="Fußzeilenplatzhalter 1">
            <a:extLst>
              <a:ext uri="{FF2B5EF4-FFF2-40B4-BE49-F238E27FC236}">
                <a16:creationId xmlns:a16="http://schemas.microsoft.com/office/drawing/2014/main" id="{18F78CBE-9BE2-F0B3-27EA-D5252B8BF175}"/>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13867097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nhalt_Bild_7">
    <p:spTree>
      <p:nvGrpSpPr>
        <p:cNvPr id="1" name=""/>
        <p:cNvGrpSpPr/>
        <p:nvPr/>
      </p:nvGrpSpPr>
      <p:grpSpPr>
        <a:xfrm>
          <a:off x="0" y="0"/>
          <a:ext cx="0" cy="0"/>
          <a:chOff x="0" y="0"/>
          <a:chExt cx="0" cy="0"/>
        </a:xfrm>
      </p:grpSpPr>
      <p:sp>
        <p:nvSpPr>
          <p:cNvPr id="6" name="Inhaltsplatzhalter 5"/>
          <p:cNvSpPr>
            <a:spLocks noGrp="1"/>
          </p:cNvSpPr>
          <p:nvPr>
            <p:ph sz="quarter" idx="11" hasCustomPrompt="1"/>
          </p:nvPr>
        </p:nvSpPr>
        <p:spPr>
          <a:xfrm>
            <a:off x="339547" y="1701800"/>
            <a:ext cx="7609688" cy="45354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10" name="Bildplatzhalter 7"/>
          <p:cNvSpPr>
            <a:spLocks noGrp="1"/>
          </p:cNvSpPr>
          <p:nvPr>
            <p:ph type="pic" sz="quarter" idx="16"/>
          </p:nvPr>
        </p:nvSpPr>
        <p:spPr>
          <a:xfrm>
            <a:off x="8165023" y="1701800"/>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1" name="Bildplatzhalter 7"/>
          <p:cNvSpPr>
            <a:spLocks noGrp="1"/>
          </p:cNvSpPr>
          <p:nvPr>
            <p:ph type="pic" sz="quarter" idx="17"/>
          </p:nvPr>
        </p:nvSpPr>
        <p:spPr>
          <a:xfrm>
            <a:off x="8165023" y="3249544"/>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2" name="Bildplatzhalter 7"/>
          <p:cNvSpPr>
            <a:spLocks noGrp="1"/>
          </p:cNvSpPr>
          <p:nvPr>
            <p:ph type="pic" sz="quarter" idx="18"/>
          </p:nvPr>
        </p:nvSpPr>
        <p:spPr>
          <a:xfrm>
            <a:off x="8165023" y="4797288"/>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9" name="Datumsplatzhalter 5">
            <a:extLst>
              <a:ext uri="{FF2B5EF4-FFF2-40B4-BE49-F238E27FC236}">
                <a16:creationId xmlns:a16="http://schemas.microsoft.com/office/drawing/2014/main" id="{211FEFE5-5FE6-6C71-E57F-8F0C1A4AE48F}"/>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3" name="Foliennummernplatzhalter 3">
            <a:extLst>
              <a:ext uri="{FF2B5EF4-FFF2-40B4-BE49-F238E27FC236}">
                <a16:creationId xmlns:a16="http://schemas.microsoft.com/office/drawing/2014/main" id="{4CE8DDE9-58F1-A9A0-1661-475DC5D7AC31}"/>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4" name="Fußzeilenplatzhalter 1">
            <a:extLst>
              <a:ext uri="{FF2B5EF4-FFF2-40B4-BE49-F238E27FC236}">
                <a16:creationId xmlns:a16="http://schemas.microsoft.com/office/drawing/2014/main" id="{826E4DF1-8434-F5E3-9457-527C06BAA694}"/>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3061740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halt_Bild_8">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1158337688"/>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89"/>
                        <a:ext cx="1586" cy="1587"/>
                      </a:xfrm>
                      <a:prstGeom prst="rect">
                        <a:avLst/>
                      </a:prstGeom>
                    </p:spPr>
                  </p:pic>
                </p:oleObj>
              </mc:Fallback>
            </mc:AlternateContent>
          </a:graphicData>
        </a:graphic>
      </p:graphicFrame>
      <p:sp>
        <p:nvSpPr>
          <p:cNvPr id="6" name="Inhaltsplatzhalter 5"/>
          <p:cNvSpPr>
            <a:spLocks noGrp="1"/>
          </p:cNvSpPr>
          <p:nvPr>
            <p:ph sz="quarter" idx="11" hasCustomPrompt="1"/>
          </p:nvPr>
        </p:nvSpPr>
        <p:spPr>
          <a:xfrm>
            <a:off x="339548" y="1701800"/>
            <a:ext cx="11512904" cy="2956464"/>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10" name="Bildplatzhalter 7"/>
          <p:cNvSpPr>
            <a:spLocks noGrp="1"/>
          </p:cNvSpPr>
          <p:nvPr>
            <p:ph type="pic" sz="quarter" idx="16"/>
          </p:nvPr>
        </p:nvSpPr>
        <p:spPr>
          <a:xfrm>
            <a:off x="339549" y="4797288"/>
            <a:ext cx="3706470"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1" name="Bildplatzhalter 7"/>
          <p:cNvSpPr>
            <a:spLocks noGrp="1"/>
          </p:cNvSpPr>
          <p:nvPr>
            <p:ph type="pic" sz="quarter" idx="17"/>
          </p:nvPr>
        </p:nvSpPr>
        <p:spPr>
          <a:xfrm>
            <a:off x="4261806" y="4797288"/>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2" name="Bildplatzhalter 7"/>
          <p:cNvSpPr>
            <a:spLocks noGrp="1"/>
          </p:cNvSpPr>
          <p:nvPr>
            <p:ph type="pic" sz="quarter" idx="18"/>
          </p:nvPr>
        </p:nvSpPr>
        <p:spPr>
          <a:xfrm>
            <a:off x="8165023" y="4797288"/>
            <a:ext cx="3687429" cy="144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13" name="Datumsplatzhalter 5">
            <a:extLst>
              <a:ext uri="{FF2B5EF4-FFF2-40B4-BE49-F238E27FC236}">
                <a16:creationId xmlns:a16="http://schemas.microsoft.com/office/drawing/2014/main" id="{8AEC882C-4AC1-CB26-FBD4-06E9465A6500}"/>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14" name="Foliennummernplatzhalter 3">
            <a:extLst>
              <a:ext uri="{FF2B5EF4-FFF2-40B4-BE49-F238E27FC236}">
                <a16:creationId xmlns:a16="http://schemas.microsoft.com/office/drawing/2014/main" id="{C0752EFA-567D-9C07-724E-AB5E6A0E8E3C}"/>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15" name="Fußzeilenplatzhalter 1">
            <a:extLst>
              <a:ext uri="{FF2B5EF4-FFF2-40B4-BE49-F238E27FC236}">
                <a16:creationId xmlns:a16="http://schemas.microsoft.com/office/drawing/2014/main" id="{80F35C1B-F8F1-D830-BDDA-F5B1EA40FEC2}"/>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15984226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 4">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E239A2F3-2328-402C-9995-D8E1DDB62A7F}"/>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1"/>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598552468"/>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grpSp>
        <p:nvGrpSpPr>
          <p:cNvPr id="17" name="Gruppieren 16">
            <a:extLst>
              <a:ext uri="{FF2B5EF4-FFF2-40B4-BE49-F238E27FC236}">
                <a16:creationId xmlns:a16="http://schemas.microsoft.com/office/drawing/2014/main" id="{D12A49A5-FDD2-40E7-B6C0-D665F1207D59}"/>
              </a:ext>
            </a:extLst>
          </p:cNvPr>
          <p:cNvGrpSpPr/>
          <p:nvPr/>
        </p:nvGrpSpPr>
        <p:grpSpPr>
          <a:xfrm>
            <a:off x="60669" y="12701"/>
            <a:ext cx="7993287" cy="1406568"/>
            <a:chOff x="60701" y="3176"/>
            <a:chExt cx="7997450" cy="1406568"/>
          </a:xfrm>
        </p:grpSpPr>
        <p:pic>
          <p:nvPicPr>
            <p:cNvPr id="18" name="Picture 6" descr="L:\Projekte\01_Unternehmen\04_Corporate-Medien\PPT Präsentationen\9033_PPT Vorlage mit Puls\2_Entwicklung\Material\Puls etc\Puls_SWM_lang_16-9.png">
              <a:extLst>
                <a:ext uri="{FF2B5EF4-FFF2-40B4-BE49-F238E27FC236}">
                  <a16:creationId xmlns:a16="http://schemas.microsoft.com/office/drawing/2014/main" id="{FD962718-B481-485F-A01B-4FD21EA955C7}"/>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49">
              <a:extLst>
                <a:ext uri="{FF2B5EF4-FFF2-40B4-BE49-F238E27FC236}">
                  <a16:creationId xmlns:a16="http://schemas.microsoft.com/office/drawing/2014/main" id="{74B79B3A-56C0-416F-9DBC-B9764B73EA49}"/>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0" name="Grafik 9">
            <a:extLst>
              <a:ext uri="{FF2B5EF4-FFF2-40B4-BE49-F238E27FC236}">
                <a16:creationId xmlns:a16="http://schemas.microsoft.com/office/drawing/2014/main" id="{D6F3020B-FFDB-4C86-980E-372254027324}"/>
              </a:ext>
            </a:extLst>
          </p:cNvPr>
          <p:cNvPicPr>
            <a:picLocks noChangeAspect="1"/>
          </p:cNvPicPr>
          <p:nvPr/>
        </p:nvPicPr>
        <p:blipFill>
          <a:blip r:embed="rId8"/>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53449589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Datumsplatzhalter 5">
            <a:extLst>
              <a:ext uri="{FF2B5EF4-FFF2-40B4-BE49-F238E27FC236}">
                <a16:creationId xmlns:a16="http://schemas.microsoft.com/office/drawing/2014/main" id="{7D78CC60-80E6-A257-7731-5A8CCA0C7118}"/>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7" name="Foliennummernplatzhalter 3">
            <a:extLst>
              <a:ext uri="{FF2B5EF4-FFF2-40B4-BE49-F238E27FC236}">
                <a16:creationId xmlns:a16="http://schemas.microsoft.com/office/drawing/2014/main" id="{7750121B-DCD3-494D-C778-80FEE64AEA16}"/>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
        <p:nvSpPr>
          <p:cNvPr id="8" name="Fußzeilenplatzhalter 1">
            <a:extLst>
              <a:ext uri="{FF2B5EF4-FFF2-40B4-BE49-F238E27FC236}">
                <a16:creationId xmlns:a16="http://schemas.microsoft.com/office/drawing/2014/main" id="{0262DE28-23FE-0C83-5264-FC6BBBA7CABB}"/>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Tree>
    <p:custDataLst>
      <p:tags r:id="rId1"/>
    </p:custDataLst>
    <p:extLst>
      <p:ext uri="{BB962C8B-B14F-4D97-AF65-F5344CB8AC3E}">
        <p14:creationId xmlns:p14="http://schemas.microsoft.com/office/powerpoint/2010/main" val="34651057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bschlussfolie ohne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913925" y="1701801"/>
            <a:ext cx="10940115" cy="954087"/>
          </a:xfrm>
          <a:prstGeom prst="rect">
            <a:avLst/>
          </a:prstGeom>
        </p:spPr>
        <p:txBody>
          <a:bodyPr lIns="0" rIns="0" anchor="t">
            <a:normAutofit/>
          </a:bodyPr>
          <a:lstStyle>
            <a:lvl1pPr marL="1587" indent="0" algn="l">
              <a:defRPr sz="2799" b="1"/>
            </a:lvl1pPr>
          </a:lstStyle>
          <a:p>
            <a:r>
              <a:rPr lang="de-DE"/>
              <a:t>Vielen Dank für </a:t>
            </a:r>
            <a:br>
              <a:rPr lang="de-DE"/>
            </a:br>
            <a:r>
              <a:rPr lang="de-DE"/>
              <a:t>Ihre Aufmerksamkeit.</a:t>
            </a:r>
          </a:p>
        </p:txBody>
      </p:sp>
      <p:pic>
        <p:nvPicPr>
          <p:cNvPr id="6" name="Grafik 5">
            <a:extLst>
              <a:ext uri="{FF2B5EF4-FFF2-40B4-BE49-F238E27FC236}">
                <a16:creationId xmlns:a16="http://schemas.microsoft.com/office/drawing/2014/main" id="{3D01239F-37BE-47F4-8DFE-4108D66E3B2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36012609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bschlussfolie mit Bild">
    <p:spTree>
      <p:nvGrpSpPr>
        <p:cNvPr id="1" name=""/>
        <p:cNvGrpSpPr/>
        <p:nvPr/>
      </p:nvGrpSpPr>
      <p:grpSpPr>
        <a:xfrm>
          <a:off x="0" y="0"/>
          <a:ext cx="0" cy="0"/>
          <a:chOff x="0" y="0"/>
          <a:chExt cx="0" cy="0"/>
        </a:xfrm>
      </p:grpSpPr>
      <p:pic>
        <p:nvPicPr>
          <p:cNvPr id="3" name="Grafik 2" descr="Ein Bild, das Gras, Himmel, draußen, Natur enthält.&#10;&#10;Automatisch generierte Beschreibung">
            <a:extLst>
              <a:ext uri="{FF2B5EF4-FFF2-40B4-BE49-F238E27FC236}">
                <a16:creationId xmlns:a16="http://schemas.microsoft.com/office/drawing/2014/main" id="{626E2070-5DC2-8A06-C506-86440356CC8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4253324979"/>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10" name="Objekt 9"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13923" y="1701801"/>
            <a:ext cx="10938528" cy="954087"/>
          </a:xfrm>
          <a:prstGeom prst="rect">
            <a:avLst/>
          </a:prstGeom>
        </p:spPr>
        <p:txBody>
          <a:bodyPr lIns="0" rIns="0" anchor="t">
            <a:normAutofit/>
          </a:bodyPr>
          <a:lstStyle>
            <a:lvl1pPr marL="1587" indent="0" algn="l">
              <a:defRPr sz="2799" b="1">
                <a:solidFill>
                  <a:schemeClr val="bg1"/>
                </a:solidFill>
              </a:defRPr>
            </a:lvl1pPr>
          </a:lstStyle>
          <a:p>
            <a:r>
              <a:rPr lang="de-DE"/>
              <a:t>Vielen Dank für </a:t>
            </a:r>
            <a:br>
              <a:rPr lang="de-DE"/>
            </a:br>
            <a:r>
              <a:rPr lang="de-DE"/>
              <a:t>Ihre Aufmerksamkeit.</a:t>
            </a:r>
            <a:br>
              <a:rPr lang="de-DE"/>
            </a:br>
            <a:endParaRPr lang="de-DE"/>
          </a:p>
        </p:txBody>
      </p:sp>
      <p:pic>
        <p:nvPicPr>
          <p:cNvPr id="6" name="Grafik 5">
            <a:extLst>
              <a:ext uri="{FF2B5EF4-FFF2-40B4-BE49-F238E27FC236}">
                <a16:creationId xmlns:a16="http://schemas.microsoft.com/office/drawing/2014/main" id="{FD46ECE1-295F-480E-AA3D-0E79595E72B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8608974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bschlussfolie mit Bildplatzhalter">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1610039301"/>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39" name="Bildplatzhalter 38">
            <a:extLst>
              <a:ext uri="{FF2B5EF4-FFF2-40B4-BE49-F238E27FC236}">
                <a16:creationId xmlns:a16="http://schemas.microsoft.com/office/drawing/2014/main" id="{D88EB7E1-7C4C-4FB3-87A6-4C48A879F97E}"/>
              </a:ext>
            </a:extLst>
          </p:cNvPr>
          <p:cNvSpPr>
            <a:spLocks noGrp="1"/>
          </p:cNvSpPr>
          <p:nvPr>
            <p:ph type="pic" sz="quarter" idx="10"/>
          </p:nvPr>
        </p:nvSpPr>
        <p:spPr>
          <a:xfrm>
            <a:off x="0" y="0"/>
            <a:ext cx="12196234" cy="6858000"/>
          </a:xfrm>
          <a:custGeom>
            <a:avLst/>
            <a:gdLst>
              <a:gd name="connsiteX0" fmla="*/ 0 w 12198350"/>
              <a:gd name="connsiteY0" fmla="*/ 0 h 6858000"/>
              <a:gd name="connsiteX1" fmla="*/ 12198350 w 12198350"/>
              <a:gd name="connsiteY1" fmla="*/ 0 h 6858000"/>
              <a:gd name="connsiteX2" fmla="*/ 12198350 w 12198350"/>
              <a:gd name="connsiteY2" fmla="*/ 370722 h 6858000"/>
              <a:gd name="connsiteX3" fmla="*/ 10365315 w 12198350"/>
              <a:gd name="connsiteY3" fmla="*/ 370722 h 6858000"/>
              <a:gd name="connsiteX4" fmla="*/ 10365315 w 12198350"/>
              <a:gd name="connsiteY4" fmla="*/ 990410 h 6858000"/>
              <a:gd name="connsiteX5" fmla="*/ 12198350 w 12198350"/>
              <a:gd name="connsiteY5" fmla="*/ 990410 h 6858000"/>
              <a:gd name="connsiteX6" fmla="*/ 12198350 w 12198350"/>
              <a:gd name="connsiteY6" fmla="*/ 6858000 h 6858000"/>
              <a:gd name="connsiteX7" fmla="*/ 0 w 1219835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858000">
                <a:moveTo>
                  <a:pt x="0" y="0"/>
                </a:moveTo>
                <a:lnTo>
                  <a:pt x="12198350" y="0"/>
                </a:lnTo>
                <a:lnTo>
                  <a:pt x="12198350" y="370722"/>
                </a:lnTo>
                <a:lnTo>
                  <a:pt x="10365315" y="370722"/>
                </a:lnTo>
                <a:lnTo>
                  <a:pt x="10365315" y="990410"/>
                </a:lnTo>
                <a:lnTo>
                  <a:pt x="12198350" y="990410"/>
                </a:lnTo>
                <a:lnTo>
                  <a:pt x="12198350" y="6858000"/>
                </a:lnTo>
                <a:lnTo>
                  <a:pt x="0" y="6858000"/>
                </a:lnTo>
                <a:close/>
              </a:path>
            </a:pathLst>
          </a:custGeom>
          <a:solidFill>
            <a:schemeClr val="bg1">
              <a:lumMod val="85000"/>
            </a:schemeClr>
          </a:solidFill>
        </p:spPr>
        <p:txBody>
          <a:bodyPr wrap="square">
            <a:noAutofit/>
          </a:bodyPr>
          <a:lstStyle>
            <a:lvl1pPr marL="0" indent="0">
              <a:buNone/>
              <a:defRPr/>
            </a:lvl1pPr>
          </a:lstStyle>
          <a:p>
            <a:r>
              <a:rPr lang="de-DE"/>
              <a:t>Bild durch Klicken auf Symbol hinzufügen</a:t>
            </a:r>
          </a:p>
        </p:txBody>
      </p:sp>
      <p:sp>
        <p:nvSpPr>
          <p:cNvPr id="2" name="Titel 1"/>
          <p:cNvSpPr>
            <a:spLocks noGrp="1"/>
          </p:cNvSpPr>
          <p:nvPr>
            <p:ph type="ctrTitle" hasCustomPrompt="1"/>
          </p:nvPr>
        </p:nvSpPr>
        <p:spPr bwMode="gray">
          <a:xfrm>
            <a:off x="913923" y="1701801"/>
            <a:ext cx="10938528" cy="954087"/>
          </a:xfrm>
          <a:prstGeom prst="rect">
            <a:avLst/>
          </a:prstGeom>
        </p:spPr>
        <p:txBody>
          <a:bodyPr lIns="0" rIns="0" anchor="t">
            <a:normAutofit/>
          </a:bodyPr>
          <a:lstStyle>
            <a:lvl1pPr marL="1587" indent="0" algn="l">
              <a:defRPr sz="2799" b="1">
                <a:solidFill>
                  <a:schemeClr val="bg1"/>
                </a:solidFill>
              </a:defRPr>
            </a:lvl1pPr>
          </a:lstStyle>
          <a:p>
            <a:r>
              <a:rPr lang="de-DE"/>
              <a:t>Vielen Dank für </a:t>
            </a:r>
            <a:br>
              <a:rPr lang="de-DE"/>
            </a:br>
            <a:r>
              <a:rPr lang="de-DE"/>
              <a:t>Ihre Aufmerksamkeit.</a:t>
            </a:r>
            <a:br>
              <a:rPr lang="de-DE"/>
            </a:br>
            <a:endParaRPr lang="de-DE"/>
          </a:p>
        </p:txBody>
      </p:sp>
      <p:pic>
        <p:nvPicPr>
          <p:cNvPr id="6" name="Grafik 5">
            <a:extLst>
              <a:ext uri="{FF2B5EF4-FFF2-40B4-BE49-F238E27FC236}">
                <a16:creationId xmlns:a16="http://schemas.microsoft.com/office/drawing/2014/main" id="{D81D8D44-24B5-4D9D-9394-1757BC71A9C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36209389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elfolie alternativ">
    <p:spTree>
      <p:nvGrpSpPr>
        <p:cNvPr id="1" name=""/>
        <p:cNvGrpSpPr/>
        <p:nvPr/>
      </p:nvGrpSpPr>
      <p:grpSpPr>
        <a:xfrm>
          <a:off x="0" y="0"/>
          <a:ext cx="0" cy="0"/>
          <a:chOff x="0" y="0"/>
          <a:chExt cx="0" cy="0"/>
        </a:xfrm>
      </p:grpSpPr>
      <p:pic>
        <p:nvPicPr>
          <p:cNvPr id="42" name="Grafik 4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
            <a:ext cx="12190451" cy="2618656"/>
          </a:xfrm>
          <a:prstGeom prst="rect">
            <a:avLst/>
          </a:prstGeom>
          <a:effectLst>
            <a:outerShdw blurRad="114300" dist="50800" dir="5400000" algn="t" rotWithShape="0">
              <a:prstClr val="black">
                <a:alpha val="21000"/>
              </a:prstClr>
            </a:outerShdw>
          </a:effectLst>
        </p:spPr>
      </p:pic>
      <p:sp>
        <p:nvSpPr>
          <p:cNvPr id="4" name="Datumsplatzhalter 3"/>
          <p:cNvSpPr>
            <a:spLocks noGrp="1"/>
          </p:cNvSpPr>
          <p:nvPr>
            <p:ph type="dt" sz="half" idx="10"/>
          </p:nvPr>
        </p:nvSpPr>
        <p:spPr>
          <a:xfrm>
            <a:off x="881541" y="6296397"/>
            <a:ext cx="1439250" cy="287933"/>
          </a:xfrm>
        </p:spPr>
        <p:txBody>
          <a:bodyPr/>
          <a:lstStyle>
            <a:lvl1pPr>
              <a:defRPr>
                <a:solidFill>
                  <a:srgbClr val="706F6F"/>
                </a:solidFill>
              </a:defRPr>
            </a:lvl1pPr>
          </a:lstStyle>
          <a:p>
            <a:fld id="{B99ED5A4-F7C8-CE43-9692-1ABF4345FDD7}"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rgbClr val="706F6F"/>
                </a:solidFill>
              </a:defRPr>
            </a:lvl1pPr>
          </a:lstStyle>
          <a:p>
            <a:fld id="{B4F6B972-CE55-4283-90F5-7B3D6C9491F8}" type="slidenum">
              <a:rPr lang="de-DE" smtClean="0"/>
              <a:pPr/>
              <a:t>‹Nr.›</a:t>
            </a:fld>
            <a:endParaRPr lang="de-DE"/>
          </a:p>
        </p:txBody>
      </p:sp>
      <p:pic>
        <p:nvPicPr>
          <p:cNvPr id="7" name="Grafik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600232" y="317665"/>
            <a:ext cx="2082228" cy="519565"/>
          </a:xfrm>
          <a:prstGeom prst="rect">
            <a:avLst/>
          </a:prstGeom>
        </p:spPr>
      </p:pic>
      <p:pic>
        <p:nvPicPr>
          <p:cNvPr id="8" name="Grafik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921929" y="4892612"/>
            <a:ext cx="2778335" cy="1346907"/>
          </a:xfrm>
          <a:prstGeom prst="rect">
            <a:avLst/>
          </a:prstGeom>
          <a:effectLst>
            <a:outerShdw blurRad="76200" dist="50800" dir="2700000" algn="ctr" rotWithShape="0">
              <a:srgbClr val="000000">
                <a:alpha val="15000"/>
              </a:srgbClr>
            </a:outerShdw>
          </a:effectLst>
        </p:spPr>
      </p:pic>
      <p:cxnSp>
        <p:nvCxnSpPr>
          <p:cNvPr id="11" name="Gerade Verbindung 10"/>
          <p:cNvCxnSpPr/>
          <p:nvPr userDrawn="1"/>
        </p:nvCxnSpPr>
        <p:spPr>
          <a:xfrm>
            <a:off x="0" y="5653629"/>
            <a:ext cx="5577095" cy="0"/>
          </a:xfrm>
          <a:prstGeom prst="line">
            <a:avLst/>
          </a:prstGeom>
          <a:ln w="101600">
            <a:solidFill>
              <a:srgbClr val="4370B6"/>
            </a:solidFill>
          </a:ln>
        </p:spPr>
        <p:style>
          <a:lnRef idx="1">
            <a:schemeClr val="accent1"/>
          </a:lnRef>
          <a:fillRef idx="0">
            <a:schemeClr val="accent1"/>
          </a:fillRef>
          <a:effectRef idx="0">
            <a:schemeClr val="accent1"/>
          </a:effectRef>
          <a:fontRef idx="minor">
            <a:schemeClr val="tx1"/>
          </a:fontRef>
        </p:style>
      </p:cxnSp>
      <p:sp>
        <p:nvSpPr>
          <p:cNvPr id="9" name="Ellipse 8"/>
          <p:cNvSpPr/>
          <p:nvPr userDrawn="1"/>
        </p:nvSpPr>
        <p:spPr>
          <a:xfrm>
            <a:off x="611681"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Ellipse 16"/>
          <p:cNvSpPr/>
          <p:nvPr userDrawn="1"/>
        </p:nvSpPr>
        <p:spPr>
          <a:xfrm>
            <a:off x="2230838"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4" name="Ellipse 13"/>
          <p:cNvSpPr/>
          <p:nvPr userDrawn="1"/>
        </p:nvSpPr>
        <p:spPr>
          <a:xfrm>
            <a:off x="1421260"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8" name="Ellipse 17"/>
          <p:cNvSpPr/>
          <p:nvPr userDrawn="1"/>
        </p:nvSpPr>
        <p:spPr>
          <a:xfrm>
            <a:off x="3040416"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2" name="Ellipse 21"/>
          <p:cNvSpPr/>
          <p:nvPr userDrawn="1"/>
        </p:nvSpPr>
        <p:spPr>
          <a:xfrm>
            <a:off x="3849995"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4" name="Ellipse 23"/>
          <p:cNvSpPr/>
          <p:nvPr userDrawn="1"/>
        </p:nvSpPr>
        <p:spPr>
          <a:xfrm>
            <a:off x="4659573"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5" name="Ellipse 24"/>
          <p:cNvSpPr/>
          <p:nvPr userDrawn="1"/>
        </p:nvSpPr>
        <p:spPr>
          <a:xfrm>
            <a:off x="5469151"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Untertitel 2">
            <a:extLst>
              <a:ext uri="{FF2B5EF4-FFF2-40B4-BE49-F238E27FC236}">
                <a16:creationId xmlns:a16="http://schemas.microsoft.com/office/drawing/2014/main" id="{A76B91A2-D104-3905-4014-1BF22B759F2C}"/>
              </a:ext>
            </a:extLst>
          </p:cNvPr>
          <p:cNvSpPr>
            <a:spLocks noGrp="1"/>
          </p:cNvSpPr>
          <p:nvPr>
            <p:ph type="subTitle" idx="1"/>
          </p:nvPr>
        </p:nvSpPr>
        <p:spPr>
          <a:xfrm>
            <a:off x="503737" y="2817075"/>
            <a:ext cx="11183701" cy="504533"/>
          </a:xfrm>
        </p:spPr>
        <p:txBody>
          <a:bodyPr>
            <a:noAutofit/>
          </a:bodyPr>
          <a:lstStyle>
            <a:lvl1pPr marL="0" indent="0" algn="l">
              <a:buNone/>
              <a:defRPr sz="1999">
                <a:solidFill>
                  <a:srgbClr val="4370B6"/>
                </a:solidFill>
              </a:defRPr>
            </a:lvl1pPr>
            <a:lvl2pPr marL="544033" indent="0" algn="ctr">
              <a:buNone/>
              <a:defRPr>
                <a:solidFill>
                  <a:schemeClr val="tx1">
                    <a:tint val="75000"/>
                  </a:schemeClr>
                </a:solidFill>
              </a:defRPr>
            </a:lvl2pPr>
            <a:lvl3pPr marL="1088066" indent="0" algn="ctr">
              <a:buNone/>
              <a:defRPr>
                <a:solidFill>
                  <a:schemeClr val="tx1">
                    <a:tint val="75000"/>
                  </a:schemeClr>
                </a:solidFill>
              </a:defRPr>
            </a:lvl3pPr>
            <a:lvl4pPr marL="1632099" indent="0" algn="ctr">
              <a:buNone/>
              <a:defRPr>
                <a:solidFill>
                  <a:schemeClr val="tx1">
                    <a:tint val="75000"/>
                  </a:schemeClr>
                </a:solidFill>
              </a:defRPr>
            </a:lvl4pPr>
            <a:lvl5pPr marL="2176131" indent="0" algn="ctr">
              <a:buNone/>
              <a:defRPr>
                <a:solidFill>
                  <a:schemeClr val="tx1">
                    <a:tint val="75000"/>
                  </a:schemeClr>
                </a:solidFill>
              </a:defRPr>
            </a:lvl5pPr>
            <a:lvl6pPr marL="2720165" indent="0" algn="ctr">
              <a:buNone/>
              <a:defRPr>
                <a:solidFill>
                  <a:schemeClr val="tx1">
                    <a:tint val="75000"/>
                  </a:schemeClr>
                </a:solidFill>
              </a:defRPr>
            </a:lvl6pPr>
            <a:lvl7pPr marL="3264198" indent="0" algn="ctr">
              <a:buNone/>
              <a:defRPr>
                <a:solidFill>
                  <a:schemeClr val="tx1">
                    <a:tint val="75000"/>
                  </a:schemeClr>
                </a:solidFill>
              </a:defRPr>
            </a:lvl7pPr>
            <a:lvl8pPr marL="3808230" indent="0" algn="ctr">
              <a:buNone/>
              <a:defRPr>
                <a:solidFill>
                  <a:schemeClr val="tx1">
                    <a:tint val="75000"/>
                  </a:schemeClr>
                </a:solidFill>
              </a:defRPr>
            </a:lvl8pPr>
            <a:lvl9pPr marL="4352264" indent="0" algn="ctr">
              <a:buNone/>
              <a:defRPr>
                <a:solidFill>
                  <a:schemeClr val="tx1">
                    <a:tint val="75000"/>
                  </a:schemeClr>
                </a:solidFill>
              </a:defRPr>
            </a:lvl9pPr>
          </a:lstStyle>
          <a:p>
            <a:r>
              <a:rPr lang="de-DE"/>
              <a:t>Formatvorlage des Untertitelmasters durch Klicken bearbeiten</a:t>
            </a:r>
          </a:p>
        </p:txBody>
      </p:sp>
      <p:sp>
        <p:nvSpPr>
          <p:cNvPr id="12" name="Inhaltsplatzhalter 2">
            <a:extLst>
              <a:ext uri="{FF2B5EF4-FFF2-40B4-BE49-F238E27FC236}">
                <a16:creationId xmlns:a16="http://schemas.microsoft.com/office/drawing/2014/main" id="{4077B86B-966D-5FEC-C8EB-2701E1AF177C}"/>
              </a:ext>
            </a:extLst>
          </p:cNvPr>
          <p:cNvSpPr>
            <a:spLocks noGrp="1"/>
          </p:cNvSpPr>
          <p:nvPr>
            <p:ph idx="18"/>
          </p:nvPr>
        </p:nvSpPr>
        <p:spPr>
          <a:xfrm>
            <a:off x="503739" y="3648222"/>
            <a:ext cx="7932468" cy="1112681"/>
          </a:xfrm>
        </p:spPr>
        <p:txBody>
          <a:bodyPr>
            <a:normAutofit/>
          </a:bodyPr>
          <a:lstStyle>
            <a:lvl1pPr>
              <a:defRPr sz="3597">
                <a:solidFill>
                  <a:srgbClr val="4370B6"/>
                </a:solidFill>
              </a:defRPr>
            </a:lvl1pPr>
          </a:lstStyle>
          <a:p>
            <a:pPr lvl="0"/>
            <a:r>
              <a:rPr lang="de-DE"/>
              <a:t>Textmasterformat bearbeiten</a:t>
            </a:r>
          </a:p>
        </p:txBody>
      </p:sp>
      <p:sp>
        <p:nvSpPr>
          <p:cNvPr id="20" name="Titelplatzhalter 4">
            <a:extLst>
              <a:ext uri="{FF2B5EF4-FFF2-40B4-BE49-F238E27FC236}">
                <a16:creationId xmlns:a16="http://schemas.microsoft.com/office/drawing/2014/main" id="{EC901DE1-AA61-F401-619E-A698310C76FC}"/>
              </a:ext>
            </a:extLst>
          </p:cNvPr>
          <p:cNvSpPr>
            <a:spLocks noGrp="1"/>
          </p:cNvSpPr>
          <p:nvPr>
            <p:ph type="title"/>
          </p:nvPr>
        </p:nvSpPr>
        <p:spPr>
          <a:xfrm>
            <a:off x="503737" y="1809196"/>
            <a:ext cx="11182976" cy="719833"/>
          </a:xfrm>
          <a:prstGeom prst="rect">
            <a:avLst/>
          </a:prstGeom>
        </p:spPr>
        <p:txBody>
          <a:bodyPr vert="horz" lIns="0" tIns="0" rIns="0" bIns="0" rtlCol="0" anchor="t" anchorCtr="0">
            <a:normAutofit/>
          </a:bodyPr>
          <a:lstStyle>
            <a:lvl1pPr>
              <a:defRPr sz="4197">
                <a:solidFill>
                  <a:schemeClr val="bg1"/>
                </a:solidFill>
              </a:defRPr>
            </a:lvl1pPr>
          </a:lstStyle>
          <a:p>
            <a:r>
              <a:rPr lang="de-DE"/>
              <a:t>Mastertitelformat bearbeiten</a:t>
            </a:r>
          </a:p>
        </p:txBody>
      </p:sp>
    </p:spTree>
    <p:extLst>
      <p:ext uri="{BB962C8B-B14F-4D97-AF65-F5344CB8AC3E}">
        <p14:creationId xmlns:p14="http://schemas.microsoft.com/office/powerpoint/2010/main" val="8446508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pic>
        <p:nvPicPr>
          <p:cNvPr id="42" name="Grafik 4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0451" cy="2618656"/>
          </a:xfrm>
          <a:prstGeom prst="rect">
            <a:avLst/>
          </a:prstGeom>
          <a:effectLst>
            <a:outerShdw blurRad="114300" dist="50800" dir="5400000" algn="t" rotWithShape="0">
              <a:prstClr val="black">
                <a:alpha val="21000"/>
              </a:prstClr>
            </a:outerShdw>
          </a:effectLst>
        </p:spPr>
      </p:pic>
      <p:sp>
        <p:nvSpPr>
          <p:cNvPr id="2" name="Titel 1"/>
          <p:cNvSpPr>
            <a:spLocks noGrp="1"/>
          </p:cNvSpPr>
          <p:nvPr>
            <p:ph type="title"/>
          </p:nvPr>
        </p:nvSpPr>
        <p:spPr>
          <a:xfrm>
            <a:off x="503736" y="359918"/>
            <a:ext cx="11182976" cy="719833"/>
          </a:xfrm>
          <a:prstGeom prst="rect">
            <a:avLst/>
          </a:prstGeom>
        </p:spPr>
        <p:txBody>
          <a:bodyPr anchor="t" anchorCtr="0"/>
          <a:lstStyle>
            <a:lvl1pPr>
              <a:defRPr>
                <a:solidFill>
                  <a:schemeClr val="bg1"/>
                </a:solidFill>
              </a:defRPr>
            </a:lvl1pPr>
          </a:lstStyle>
          <a:p>
            <a:r>
              <a:rPr lang="de-DE"/>
              <a:t>Titelmasterformat durch Klicken bearbeiten</a:t>
            </a:r>
          </a:p>
        </p:txBody>
      </p:sp>
      <p:sp>
        <p:nvSpPr>
          <p:cNvPr id="3" name="Inhaltsplatzhalter 2"/>
          <p:cNvSpPr>
            <a:spLocks noGrp="1"/>
          </p:cNvSpPr>
          <p:nvPr>
            <p:ph idx="1"/>
          </p:nvPr>
        </p:nvSpPr>
        <p:spPr>
          <a:xfrm rot="18900000">
            <a:off x="269861" y="3927227"/>
            <a:ext cx="3686071" cy="329092"/>
          </a:xfrm>
        </p:spPr>
        <p:txBody>
          <a:bodyPr>
            <a:normAutofit/>
          </a:bodyPr>
          <a:lstStyle>
            <a:lvl1pPr>
              <a:defRPr sz="1999">
                <a:solidFill>
                  <a:schemeClr val="tx1"/>
                </a:solidFill>
              </a:defRPr>
            </a:lvl1pPr>
          </a:lstStyle>
          <a:p>
            <a:pPr lvl="0"/>
            <a:r>
              <a:rPr lang="de-DE"/>
              <a:t>Textmasterformat bearbeiten</a:t>
            </a:r>
          </a:p>
        </p:txBody>
      </p:sp>
      <p:sp>
        <p:nvSpPr>
          <p:cNvPr id="4" name="Datumsplatzhalter 3"/>
          <p:cNvSpPr>
            <a:spLocks noGrp="1"/>
          </p:cNvSpPr>
          <p:nvPr>
            <p:ph type="dt" sz="half" idx="10"/>
          </p:nvPr>
        </p:nvSpPr>
        <p:spPr>
          <a:xfrm>
            <a:off x="881541" y="6296397"/>
            <a:ext cx="1439250" cy="287933"/>
          </a:xfrm>
        </p:spPr>
        <p:txBody>
          <a:bodyPr/>
          <a:lstStyle>
            <a:lvl1pPr>
              <a:defRPr>
                <a:solidFill>
                  <a:srgbClr val="706F6F"/>
                </a:solidFill>
              </a:defRPr>
            </a:lvl1pPr>
          </a:lstStyle>
          <a:p>
            <a:fld id="{B99ED5A4-F7C8-CE43-9692-1ABF4345FDD7}"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rgbClr val="706F6F"/>
                </a:solidFill>
              </a:defRPr>
            </a:lvl1pPr>
          </a:lstStyle>
          <a:p>
            <a:fld id="{B4F6B972-CE55-4283-90F5-7B3D6C9491F8}" type="slidenum">
              <a:rPr lang="de-DE" smtClean="0"/>
              <a:pPr/>
              <a:t>‹Nr.›</a:t>
            </a:fld>
            <a:endParaRPr lang="de-DE"/>
          </a:p>
        </p:txBody>
      </p:sp>
      <p:pic>
        <p:nvPicPr>
          <p:cNvPr id="7" name="Grafik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00232" y="317665"/>
            <a:ext cx="2082228" cy="519565"/>
          </a:xfrm>
          <a:prstGeom prst="rect">
            <a:avLst/>
          </a:prstGeom>
        </p:spPr>
      </p:pic>
      <p:pic>
        <p:nvPicPr>
          <p:cNvPr id="8" name="Grafik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21929" y="4892612"/>
            <a:ext cx="2778335" cy="1346907"/>
          </a:xfrm>
          <a:prstGeom prst="rect">
            <a:avLst/>
          </a:prstGeom>
          <a:effectLst>
            <a:outerShdw blurRad="76200" dist="50800" dir="2700000" algn="ctr" rotWithShape="0">
              <a:srgbClr val="000000">
                <a:alpha val="15000"/>
              </a:srgbClr>
            </a:outerShdw>
          </a:effectLst>
        </p:spPr>
      </p:pic>
      <p:cxnSp>
        <p:nvCxnSpPr>
          <p:cNvPr id="11" name="Gerade Verbindung 10"/>
          <p:cNvCxnSpPr/>
          <p:nvPr/>
        </p:nvCxnSpPr>
        <p:spPr>
          <a:xfrm>
            <a:off x="0" y="5653629"/>
            <a:ext cx="5577095" cy="0"/>
          </a:xfrm>
          <a:prstGeom prst="line">
            <a:avLst/>
          </a:prstGeom>
          <a:ln w="101600">
            <a:solidFill>
              <a:srgbClr val="4370B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611681"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Ellipse 16"/>
          <p:cNvSpPr/>
          <p:nvPr/>
        </p:nvSpPr>
        <p:spPr>
          <a:xfrm>
            <a:off x="2230838"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4" name="Ellipse 13"/>
          <p:cNvSpPr/>
          <p:nvPr/>
        </p:nvSpPr>
        <p:spPr>
          <a:xfrm>
            <a:off x="1421260"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8" name="Ellipse 17"/>
          <p:cNvSpPr/>
          <p:nvPr/>
        </p:nvSpPr>
        <p:spPr>
          <a:xfrm>
            <a:off x="3040416"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2" name="Ellipse 21"/>
          <p:cNvSpPr/>
          <p:nvPr/>
        </p:nvSpPr>
        <p:spPr>
          <a:xfrm>
            <a:off x="3849995"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4" name="Ellipse 23"/>
          <p:cNvSpPr/>
          <p:nvPr/>
        </p:nvSpPr>
        <p:spPr>
          <a:xfrm>
            <a:off x="4659573"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5" name="Ellipse 24"/>
          <p:cNvSpPr/>
          <p:nvPr/>
        </p:nvSpPr>
        <p:spPr>
          <a:xfrm>
            <a:off x="5469151"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3" name="Inhaltsplatzhalter 2"/>
          <p:cNvSpPr>
            <a:spLocks noGrp="1"/>
          </p:cNvSpPr>
          <p:nvPr>
            <p:ph idx="13"/>
          </p:nvPr>
        </p:nvSpPr>
        <p:spPr>
          <a:xfrm rot="18900000">
            <a:off x="1079439" y="3927227"/>
            <a:ext cx="3686071" cy="329092"/>
          </a:xfrm>
        </p:spPr>
        <p:txBody>
          <a:bodyPr>
            <a:normAutofit/>
          </a:bodyPr>
          <a:lstStyle>
            <a:lvl1pPr>
              <a:defRPr sz="1999">
                <a:solidFill>
                  <a:schemeClr val="tx1"/>
                </a:solidFill>
              </a:defRPr>
            </a:lvl1pPr>
          </a:lstStyle>
          <a:p>
            <a:pPr lvl="0"/>
            <a:r>
              <a:rPr lang="de-DE"/>
              <a:t>Textmasterformat bearbeiten</a:t>
            </a:r>
          </a:p>
        </p:txBody>
      </p:sp>
      <p:sp>
        <p:nvSpPr>
          <p:cNvPr id="34" name="Inhaltsplatzhalter 2"/>
          <p:cNvSpPr>
            <a:spLocks noGrp="1"/>
          </p:cNvSpPr>
          <p:nvPr>
            <p:ph idx="14"/>
          </p:nvPr>
        </p:nvSpPr>
        <p:spPr>
          <a:xfrm rot="18900000">
            <a:off x="1889018" y="3927227"/>
            <a:ext cx="3686071" cy="329092"/>
          </a:xfrm>
        </p:spPr>
        <p:txBody>
          <a:bodyPr>
            <a:normAutofit/>
          </a:bodyPr>
          <a:lstStyle>
            <a:lvl1pPr>
              <a:defRPr sz="1999">
                <a:solidFill>
                  <a:schemeClr val="tx1"/>
                </a:solidFill>
              </a:defRPr>
            </a:lvl1pPr>
          </a:lstStyle>
          <a:p>
            <a:pPr lvl="0"/>
            <a:r>
              <a:rPr lang="de-DE"/>
              <a:t>Textmasterformat bearbeiten</a:t>
            </a:r>
          </a:p>
        </p:txBody>
      </p:sp>
      <p:sp>
        <p:nvSpPr>
          <p:cNvPr id="35" name="Inhaltsplatzhalter 2"/>
          <p:cNvSpPr>
            <a:spLocks noGrp="1"/>
          </p:cNvSpPr>
          <p:nvPr>
            <p:ph idx="15"/>
          </p:nvPr>
        </p:nvSpPr>
        <p:spPr>
          <a:xfrm rot="18900000">
            <a:off x="2698596" y="3927227"/>
            <a:ext cx="3686071" cy="329092"/>
          </a:xfrm>
        </p:spPr>
        <p:txBody>
          <a:bodyPr>
            <a:normAutofit/>
          </a:bodyPr>
          <a:lstStyle>
            <a:lvl1pPr>
              <a:defRPr sz="1999">
                <a:solidFill>
                  <a:schemeClr val="tx1"/>
                </a:solidFill>
              </a:defRPr>
            </a:lvl1pPr>
          </a:lstStyle>
          <a:p>
            <a:pPr lvl="0"/>
            <a:r>
              <a:rPr lang="de-DE"/>
              <a:t>Textmasterformat bearbeiten</a:t>
            </a:r>
          </a:p>
        </p:txBody>
      </p:sp>
      <p:sp>
        <p:nvSpPr>
          <p:cNvPr id="36" name="Inhaltsplatzhalter 2"/>
          <p:cNvSpPr>
            <a:spLocks noGrp="1"/>
          </p:cNvSpPr>
          <p:nvPr>
            <p:ph idx="16"/>
          </p:nvPr>
        </p:nvSpPr>
        <p:spPr>
          <a:xfrm rot="18900000">
            <a:off x="3508174" y="3927227"/>
            <a:ext cx="3686071" cy="329092"/>
          </a:xfrm>
        </p:spPr>
        <p:txBody>
          <a:bodyPr>
            <a:normAutofit/>
          </a:bodyPr>
          <a:lstStyle>
            <a:lvl1pPr>
              <a:defRPr sz="1999">
                <a:solidFill>
                  <a:schemeClr val="tx1"/>
                </a:solidFill>
              </a:defRPr>
            </a:lvl1pPr>
          </a:lstStyle>
          <a:p>
            <a:pPr lvl="0"/>
            <a:r>
              <a:rPr lang="de-DE"/>
              <a:t>Textmasterformat bearbeiten</a:t>
            </a:r>
          </a:p>
        </p:txBody>
      </p:sp>
      <p:sp>
        <p:nvSpPr>
          <p:cNvPr id="37" name="Inhaltsplatzhalter 2"/>
          <p:cNvSpPr>
            <a:spLocks noGrp="1"/>
          </p:cNvSpPr>
          <p:nvPr>
            <p:ph idx="17"/>
          </p:nvPr>
        </p:nvSpPr>
        <p:spPr>
          <a:xfrm rot="18900000">
            <a:off x="4317753" y="3927227"/>
            <a:ext cx="3686071" cy="329092"/>
          </a:xfrm>
        </p:spPr>
        <p:txBody>
          <a:bodyPr>
            <a:normAutofit/>
          </a:bodyPr>
          <a:lstStyle>
            <a:lvl1pPr>
              <a:defRPr sz="1999">
                <a:solidFill>
                  <a:schemeClr val="tx1"/>
                </a:solidFill>
              </a:defRPr>
            </a:lvl1pPr>
          </a:lstStyle>
          <a:p>
            <a:pPr lvl="0"/>
            <a:r>
              <a:rPr lang="de-DE"/>
              <a:t>Textmasterformat bearbeiten</a:t>
            </a:r>
          </a:p>
        </p:txBody>
      </p:sp>
      <p:sp>
        <p:nvSpPr>
          <p:cNvPr id="38" name="Inhaltsplatzhalter 2"/>
          <p:cNvSpPr>
            <a:spLocks noGrp="1"/>
          </p:cNvSpPr>
          <p:nvPr>
            <p:ph idx="18"/>
          </p:nvPr>
        </p:nvSpPr>
        <p:spPr>
          <a:xfrm rot="18900000">
            <a:off x="5127331" y="3927227"/>
            <a:ext cx="3686071" cy="329092"/>
          </a:xfrm>
        </p:spPr>
        <p:txBody>
          <a:bodyPr>
            <a:normAutofit/>
          </a:bodyPr>
          <a:lstStyle>
            <a:lvl1pPr>
              <a:defRPr sz="1999">
                <a:solidFill>
                  <a:schemeClr val="tx1"/>
                </a:solidFill>
              </a:defRPr>
            </a:lvl1pPr>
          </a:lstStyle>
          <a:p>
            <a:pPr lvl="0"/>
            <a:r>
              <a:rPr lang="de-DE"/>
              <a:t>Textmasterformat bearbeiten</a:t>
            </a:r>
          </a:p>
        </p:txBody>
      </p:sp>
    </p:spTree>
    <p:extLst>
      <p:ext uri="{BB962C8B-B14F-4D97-AF65-F5344CB8AC3E}">
        <p14:creationId xmlns:p14="http://schemas.microsoft.com/office/powerpoint/2010/main" val="23679857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Kapiteleinsieg 01">
    <p:spTree>
      <p:nvGrpSpPr>
        <p:cNvPr id="1" name=""/>
        <p:cNvGrpSpPr/>
        <p:nvPr/>
      </p:nvGrpSpPr>
      <p:grpSpPr>
        <a:xfrm>
          <a:off x="0" y="0"/>
          <a:ext cx="0" cy="0"/>
          <a:chOff x="0" y="0"/>
          <a:chExt cx="0" cy="0"/>
        </a:xfrm>
      </p:grpSpPr>
      <p:pic>
        <p:nvPicPr>
          <p:cNvPr id="12" name="Grafik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3"/>
            <a:ext cx="12190451" cy="6857396"/>
          </a:xfrm>
          <a:prstGeom prst="rect">
            <a:avLst/>
          </a:prstGeom>
        </p:spPr>
      </p:pic>
      <p:cxnSp>
        <p:nvCxnSpPr>
          <p:cNvPr id="26" name="Gerade Verbindung 25"/>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9" name="Ellipse 28"/>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0" name="Ellipse 29"/>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1" name="Ellipse 30"/>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2" name="Ellipse 31"/>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9" name="Ellipse 3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40" name="Gerade Verbindung 39"/>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Inhaltsplatzhalter 2"/>
          <p:cNvSpPr>
            <a:spLocks noGrp="1"/>
          </p:cNvSpPr>
          <p:nvPr>
            <p:ph idx="1"/>
          </p:nvPr>
        </p:nvSpPr>
        <p:spPr>
          <a:xfrm rot="18900000">
            <a:off x="759" y="2789161"/>
            <a:ext cx="6327257" cy="477427"/>
          </a:xfrm>
          <a:effectLst>
            <a:outerShdw blurRad="76200" dist="63500" dir="2700000" algn="tl" rotWithShape="0">
              <a:prstClr val="black">
                <a:alpha val="57000"/>
              </a:prstClr>
            </a:outerShdw>
          </a:effectLst>
        </p:spPr>
        <p:txBody>
          <a:bodyPr>
            <a:noAutofit/>
          </a:bodyPr>
          <a:lstStyle>
            <a:lvl1pPr>
              <a:defRPr sz="3197">
                <a:solidFill>
                  <a:schemeClr val="bg1"/>
                </a:solidFill>
              </a:defRPr>
            </a:lvl1pPr>
          </a:lstStyle>
          <a:p>
            <a:pPr lvl="0"/>
            <a:r>
              <a:rPr lang="de-DE"/>
              <a:t>Textmasterformat bearbeiten</a:t>
            </a:r>
          </a:p>
        </p:txBody>
      </p:sp>
      <p:sp>
        <p:nvSpPr>
          <p:cNvPr id="4" name="Datumsplatzhalter 3"/>
          <p:cNvSpPr>
            <a:spLocks noGrp="1"/>
          </p:cNvSpPr>
          <p:nvPr>
            <p:ph type="dt" sz="half" idx="10"/>
          </p:nvPr>
        </p:nvSpPr>
        <p:spPr>
          <a:xfrm>
            <a:off x="881541" y="6296397"/>
            <a:ext cx="1439250" cy="287933"/>
          </a:xfrm>
        </p:spPr>
        <p:txBody>
          <a:bodyPr/>
          <a:lstStyle>
            <a:lvl1pPr>
              <a:defRPr>
                <a:solidFill>
                  <a:schemeClr val="bg1"/>
                </a:solidFill>
              </a:defRPr>
            </a:lvl1pPr>
          </a:lstStyle>
          <a:p>
            <a:fld id="{7D4D24E7-DD96-034E-9F93-FFA8ABE447C1}"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pic>
        <p:nvPicPr>
          <p:cNvPr id="10" name="Grafik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20028" y="6342976"/>
            <a:ext cx="1070816" cy="266639"/>
          </a:xfrm>
          <a:prstGeom prst="rect">
            <a:avLst/>
          </a:prstGeom>
        </p:spPr>
      </p:pic>
      <p:sp>
        <p:nvSpPr>
          <p:cNvPr id="47" name="Ellipse 46"/>
          <p:cNvSpPr/>
          <p:nvPr/>
        </p:nvSpPr>
        <p:spPr>
          <a:xfrm>
            <a:off x="538597" y="5473671"/>
            <a:ext cx="359813" cy="359917"/>
          </a:xfrm>
          <a:prstGeom prst="ellipse">
            <a:avLst/>
          </a:prstGeom>
          <a:solidFill>
            <a:srgbClr val="4370B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8" name="Textfeld 47"/>
          <p:cNvSpPr txBox="1"/>
          <p:nvPr/>
        </p:nvSpPr>
        <p:spPr>
          <a:xfrm>
            <a:off x="652802" y="6292465"/>
            <a:ext cx="433224" cy="276935"/>
          </a:xfrm>
          <a:prstGeom prst="rect">
            <a:avLst/>
          </a:prstGeom>
          <a:noFill/>
        </p:spPr>
        <p:txBody>
          <a:bodyPr wrap="square" rtlCol="0">
            <a:spAutoFit/>
          </a:bodyPr>
          <a:lstStyle/>
          <a:p>
            <a:r>
              <a:rPr lang="de-DE" sz="1199">
                <a:solidFill>
                  <a:schemeClr val="bg1"/>
                </a:solidFill>
              </a:rPr>
              <a:t>|</a:t>
            </a:r>
          </a:p>
        </p:txBody>
      </p:sp>
      <p:sp>
        <p:nvSpPr>
          <p:cNvPr id="23" name="Ellipse 22"/>
          <p:cNvSpPr/>
          <p:nvPr/>
        </p:nvSpPr>
        <p:spPr>
          <a:xfrm>
            <a:off x="611681" y="5546776"/>
            <a:ext cx="213645" cy="213707"/>
          </a:xfrm>
          <a:prstGeom prst="ellipse">
            <a:avLst/>
          </a:prstGeom>
          <a:solidFill>
            <a:schemeClr val="bg1"/>
          </a:solidFill>
          <a:ln w="3175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Tree>
    <p:extLst>
      <p:ext uri="{BB962C8B-B14F-4D97-AF65-F5344CB8AC3E}">
        <p14:creationId xmlns:p14="http://schemas.microsoft.com/office/powerpoint/2010/main" val="1099633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Inhalt Zeitreise">
    <p:spTree>
      <p:nvGrpSpPr>
        <p:cNvPr id="1" name=""/>
        <p:cNvGrpSpPr/>
        <p:nvPr/>
      </p:nvGrpSpPr>
      <p:grpSpPr>
        <a:xfrm>
          <a:off x="0" y="0"/>
          <a:ext cx="0" cy="0"/>
          <a:chOff x="0" y="0"/>
          <a:chExt cx="0" cy="0"/>
        </a:xfrm>
      </p:grpSpPr>
      <p:sp>
        <p:nvSpPr>
          <p:cNvPr id="29" name="Rechteck 28"/>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Bildplatzhalter 9"/>
          <p:cNvSpPr>
            <a:spLocks noGrp="1"/>
          </p:cNvSpPr>
          <p:nvPr>
            <p:ph type="pic" sz="quarter" idx="13"/>
          </p:nvPr>
        </p:nvSpPr>
        <p:spPr>
          <a:xfrm>
            <a:off x="1" y="1151733"/>
            <a:ext cx="12190414" cy="4894867"/>
          </a:xfrm>
          <a:solidFill>
            <a:schemeClr val="bg1">
              <a:lumMod val="85000"/>
            </a:schemeClr>
          </a:solidFill>
        </p:spPr>
        <p:txBody>
          <a:bodyPr/>
          <a:lstStyle/>
          <a:p>
            <a:endParaRPr lang="de-DE"/>
          </a:p>
        </p:txBody>
      </p:sp>
      <p:cxnSp>
        <p:nvCxnSpPr>
          <p:cNvPr id="20" name="Gerade Verbindung 19"/>
          <p:cNvCxnSpPr>
            <a:stCxn id="27" idx="6"/>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a:xfrm>
            <a:off x="503736" y="359918"/>
            <a:ext cx="11182976" cy="719833"/>
          </a:xfrm>
          <a:prstGeom prst="rect">
            <a:avLst/>
          </a:prstGeom>
        </p:spPr>
        <p:txBody>
          <a:bodyPr anchor="t" anchorCtr="0"/>
          <a:lstStyle/>
          <a:p>
            <a:r>
              <a:rPr lang="de-DE"/>
              <a:t>Titelmasterformat durch Klicken bearbeiten</a:t>
            </a:r>
          </a:p>
        </p:txBody>
      </p:sp>
      <p:sp>
        <p:nvSpPr>
          <p:cNvPr id="3" name="Inhaltsplatzhalter 2"/>
          <p:cNvSpPr>
            <a:spLocks noGrp="1"/>
          </p:cNvSpPr>
          <p:nvPr>
            <p:ph idx="1" hasCustomPrompt="1"/>
          </p:nvPr>
        </p:nvSpPr>
        <p:spPr>
          <a:xfrm>
            <a:off x="503737" y="1600203"/>
            <a:ext cx="3282520" cy="1635075"/>
          </a:xfrm>
        </p:spPr>
        <p:txBody>
          <a:bodyPr/>
          <a:lstStyle>
            <a:lvl4pPr marL="285550" indent="-285550">
              <a:buFontTx/>
              <a:buBlip>
                <a:blip r:embed="rId2">
                  <a:extLst>
                    <a:ext uri="{96DAC541-7B7A-43D3-8B79-37D633B846F1}">
                      <asvg:svgBlip xmlns:asvg="http://schemas.microsoft.com/office/drawing/2016/SVG/main" r:embed="rId3"/>
                    </a:ext>
                  </a:extLst>
                </a:blip>
              </a:buBlip>
              <a:defRPr/>
            </a:lvl4pPr>
          </a:lstStyle>
          <a:p>
            <a:pPr lvl="0"/>
            <a:r>
              <a:rPr lang="de-DE"/>
              <a:t>Textmasterformat bearbeiten</a:t>
            </a:r>
          </a:p>
          <a:p>
            <a:pPr lvl="1"/>
            <a:r>
              <a:rPr lang="de-DE"/>
              <a:t>Zweite Ebene</a:t>
            </a:r>
          </a:p>
          <a:p>
            <a:pPr lvl="2"/>
            <a:r>
              <a:rPr lang="de-DE"/>
              <a:t>Dritte Ebene</a:t>
            </a:r>
          </a:p>
          <a:p>
            <a:pPr lvl="2"/>
            <a:r>
              <a:rPr lang="de-DE"/>
              <a:t>Vierte Ebene</a:t>
            </a:r>
          </a:p>
          <a:p>
            <a:pPr lvl="3"/>
            <a:r>
              <a:rPr lang="de-DE"/>
              <a:t>Fünfte Ebene</a:t>
            </a:r>
          </a:p>
        </p:txBody>
      </p:sp>
      <p:sp>
        <p:nvSpPr>
          <p:cNvPr id="4" name="Datumsplatzhalter 3"/>
          <p:cNvSpPr>
            <a:spLocks noGrp="1"/>
          </p:cNvSpPr>
          <p:nvPr>
            <p:ph type="dt" sz="half" idx="10"/>
          </p:nvPr>
        </p:nvSpPr>
        <p:spPr>
          <a:xfrm>
            <a:off x="881541" y="6296397"/>
            <a:ext cx="1439250" cy="287933"/>
          </a:xfrm>
        </p:spPr>
        <p:txBody>
          <a:bodyPr/>
          <a:lstStyle/>
          <a:p>
            <a:fld id="{1959AFBE-70D8-3645-B8ED-EDA791748673}"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pic>
        <p:nvPicPr>
          <p:cNvPr id="8" name="Grafik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cxnSp>
        <p:nvCxnSpPr>
          <p:cNvPr id="13" name="Gerade Verbindung 12"/>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Ellipse 13"/>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5" name="Ellipse 14"/>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6" name="Ellipse 15"/>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Ellipse 16"/>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8" name="Ellipse 17"/>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9" name="Ellipse 1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21" name="Gerade Verbindung 2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Ellipse 25"/>
          <p:cNvSpPr/>
          <p:nvPr/>
        </p:nvSpPr>
        <p:spPr>
          <a:xfrm>
            <a:off x="538597" y="5473671"/>
            <a:ext cx="359813" cy="359917"/>
          </a:xfrm>
          <a:prstGeom prst="ellipse">
            <a:avLst/>
          </a:prstGeom>
          <a:solidFill>
            <a:srgbClr val="4370B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7" name="Ellipse 26"/>
          <p:cNvSpPr>
            <a:spLocks noChangeAspect="1"/>
          </p:cNvSpPr>
          <p:nvPr/>
        </p:nvSpPr>
        <p:spPr>
          <a:xfrm>
            <a:off x="611681" y="5546776"/>
            <a:ext cx="213645" cy="213707"/>
          </a:xfrm>
          <a:prstGeom prst="ellipse">
            <a:avLst/>
          </a:prstGeom>
          <a:solidFill>
            <a:schemeClr val="bg1"/>
          </a:solidFill>
          <a:ln w="3175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Tree>
    <p:extLst>
      <p:ext uri="{BB962C8B-B14F-4D97-AF65-F5344CB8AC3E}">
        <p14:creationId xmlns:p14="http://schemas.microsoft.com/office/powerpoint/2010/main" val="6849202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Kapiteleinsieg 02">
    <p:spTree>
      <p:nvGrpSpPr>
        <p:cNvPr id="1" name=""/>
        <p:cNvGrpSpPr/>
        <p:nvPr/>
      </p:nvGrpSpPr>
      <p:grpSpPr>
        <a:xfrm>
          <a:off x="0" y="0"/>
          <a:ext cx="0" cy="0"/>
          <a:chOff x="0" y="0"/>
          <a:chExt cx="0" cy="0"/>
        </a:xfrm>
      </p:grpSpPr>
      <p:pic>
        <p:nvPicPr>
          <p:cNvPr id="2" name="Grafik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269" y="794"/>
            <a:ext cx="12190451" cy="6856968"/>
          </a:xfrm>
          <a:prstGeom prst="rect">
            <a:avLst/>
          </a:prstGeom>
        </p:spPr>
      </p:pic>
      <p:cxnSp>
        <p:nvCxnSpPr>
          <p:cNvPr id="26" name="Gerade Verbindung 25"/>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9" name="Ellipse 28"/>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0" name="Ellipse 29"/>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1" name="Ellipse 30"/>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2" name="Ellipse 31"/>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9" name="Ellipse 3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40" name="Gerade Verbindung 39"/>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10"/>
          </p:nvPr>
        </p:nvSpPr>
        <p:spPr>
          <a:xfrm>
            <a:off x="881541" y="6296397"/>
            <a:ext cx="1439250" cy="287933"/>
          </a:xfrm>
        </p:spPr>
        <p:txBody>
          <a:bodyPr/>
          <a:lstStyle>
            <a:lvl1pPr>
              <a:defRPr>
                <a:solidFill>
                  <a:schemeClr val="bg1"/>
                </a:solidFill>
              </a:defRPr>
            </a:lvl1pPr>
          </a:lstStyle>
          <a:p>
            <a:fld id="{31E0DC50-251E-D74D-8111-149AD9B11D90}"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pic>
        <p:nvPicPr>
          <p:cNvPr id="10" name="Grafik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20028" y="6342976"/>
            <a:ext cx="1070816" cy="266639"/>
          </a:xfrm>
          <a:prstGeom prst="rect">
            <a:avLst/>
          </a:prstGeom>
        </p:spPr>
      </p:pic>
      <p:sp>
        <p:nvSpPr>
          <p:cNvPr id="48" name="Textfeld 47"/>
          <p:cNvSpPr txBox="1"/>
          <p:nvPr/>
        </p:nvSpPr>
        <p:spPr>
          <a:xfrm>
            <a:off x="652802" y="6292465"/>
            <a:ext cx="433224" cy="276935"/>
          </a:xfrm>
          <a:prstGeom prst="rect">
            <a:avLst/>
          </a:prstGeom>
          <a:noFill/>
        </p:spPr>
        <p:txBody>
          <a:bodyPr wrap="square" rtlCol="0">
            <a:spAutoFit/>
          </a:bodyPr>
          <a:lstStyle/>
          <a:p>
            <a:r>
              <a:rPr lang="de-DE" sz="1199">
                <a:solidFill>
                  <a:schemeClr val="bg1"/>
                </a:solidFill>
              </a:rPr>
              <a:t>|</a:t>
            </a:r>
          </a:p>
        </p:txBody>
      </p:sp>
      <p:sp>
        <p:nvSpPr>
          <p:cNvPr id="24" name="Ellipse 23"/>
          <p:cNvSpPr/>
          <p:nvPr/>
        </p:nvSpPr>
        <p:spPr>
          <a:xfrm>
            <a:off x="61168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5" name="Inhaltsplatzhalter 2"/>
          <p:cNvSpPr>
            <a:spLocks noGrp="1"/>
          </p:cNvSpPr>
          <p:nvPr>
            <p:ph idx="14" hasCustomPrompt="1"/>
          </p:nvPr>
        </p:nvSpPr>
        <p:spPr>
          <a:xfrm rot="18900000">
            <a:off x="809578" y="2789161"/>
            <a:ext cx="6327257" cy="477427"/>
          </a:xfrm>
          <a:effectLst>
            <a:outerShdw blurRad="76200" dist="63500" dir="2700000" algn="tl" rotWithShape="0">
              <a:prstClr val="black">
                <a:alpha val="57000"/>
              </a:prstClr>
            </a:outerShdw>
          </a:effectLst>
        </p:spPr>
        <p:txBody>
          <a:bodyPr>
            <a:noAutofit/>
          </a:bodyPr>
          <a:lstStyle>
            <a:lvl1pPr>
              <a:defRPr sz="3197">
                <a:solidFill>
                  <a:schemeClr val="bg1"/>
                </a:solidFill>
              </a:defRPr>
            </a:lvl1pPr>
          </a:lstStyle>
          <a:p>
            <a:pPr lvl="0"/>
            <a:r>
              <a:rPr lang="de-DE"/>
              <a:t>Unternehmen</a:t>
            </a:r>
          </a:p>
        </p:txBody>
      </p:sp>
      <p:sp>
        <p:nvSpPr>
          <p:cNvPr id="27" name="Ellipse 26"/>
          <p:cNvSpPr/>
          <p:nvPr/>
        </p:nvSpPr>
        <p:spPr>
          <a:xfrm>
            <a:off x="1322449" y="5475576"/>
            <a:ext cx="359813" cy="359917"/>
          </a:xfrm>
          <a:prstGeom prst="ellipse">
            <a:avLst/>
          </a:prstGeom>
          <a:solidFill>
            <a:srgbClr val="4370B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3" name="Ellipse 32"/>
          <p:cNvSpPr/>
          <p:nvPr/>
        </p:nvSpPr>
        <p:spPr>
          <a:xfrm>
            <a:off x="1395533" y="5548681"/>
            <a:ext cx="213645" cy="213707"/>
          </a:xfrm>
          <a:prstGeom prst="ellipse">
            <a:avLst/>
          </a:prstGeom>
          <a:solidFill>
            <a:schemeClr val="bg1"/>
          </a:solidFill>
          <a:ln w="3175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Tree>
    <p:extLst>
      <p:ext uri="{BB962C8B-B14F-4D97-AF65-F5344CB8AC3E}">
        <p14:creationId xmlns:p14="http://schemas.microsoft.com/office/powerpoint/2010/main" val="17423848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Inhalt Unternehmen">
    <p:spTree>
      <p:nvGrpSpPr>
        <p:cNvPr id="1" name=""/>
        <p:cNvGrpSpPr/>
        <p:nvPr/>
      </p:nvGrpSpPr>
      <p:grpSpPr>
        <a:xfrm>
          <a:off x="0" y="0"/>
          <a:ext cx="0" cy="0"/>
          <a:chOff x="0" y="0"/>
          <a:chExt cx="0" cy="0"/>
        </a:xfrm>
      </p:grpSpPr>
      <p:sp>
        <p:nvSpPr>
          <p:cNvPr id="29" name="Rechteck 28"/>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Bildplatzhalter 9"/>
          <p:cNvSpPr>
            <a:spLocks noGrp="1"/>
          </p:cNvSpPr>
          <p:nvPr>
            <p:ph type="pic" sz="quarter" idx="13"/>
          </p:nvPr>
        </p:nvSpPr>
        <p:spPr>
          <a:xfrm>
            <a:off x="1" y="1151733"/>
            <a:ext cx="12190414" cy="4894867"/>
          </a:xfrm>
          <a:solidFill>
            <a:schemeClr val="bg1">
              <a:lumMod val="85000"/>
            </a:schemeClr>
          </a:solidFill>
        </p:spPr>
        <p:txBody>
          <a:bodyPr/>
          <a:lstStyle/>
          <a:p>
            <a:endParaRPr lang="de-DE"/>
          </a:p>
        </p:txBody>
      </p:sp>
      <p:sp>
        <p:nvSpPr>
          <p:cNvPr id="2" name="Titel 1"/>
          <p:cNvSpPr>
            <a:spLocks noGrp="1"/>
          </p:cNvSpPr>
          <p:nvPr>
            <p:ph type="title"/>
          </p:nvPr>
        </p:nvSpPr>
        <p:spPr>
          <a:xfrm>
            <a:off x="503736" y="359918"/>
            <a:ext cx="11182976" cy="719833"/>
          </a:xfrm>
          <a:prstGeom prst="rect">
            <a:avLst/>
          </a:prstGeom>
        </p:spPr>
        <p:txBody>
          <a:bodyPr anchor="t" anchorCtr="0"/>
          <a:lstStyle/>
          <a:p>
            <a:r>
              <a:rPr lang="de-DE"/>
              <a:t>Titelmasterformat durch Klicken bearbeiten</a:t>
            </a:r>
          </a:p>
        </p:txBody>
      </p:sp>
      <p:sp>
        <p:nvSpPr>
          <p:cNvPr id="4" name="Datumsplatzhalter 3"/>
          <p:cNvSpPr>
            <a:spLocks noGrp="1"/>
          </p:cNvSpPr>
          <p:nvPr>
            <p:ph type="dt" sz="half" idx="10"/>
          </p:nvPr>
        </p:nvSpPr>
        <p:spPr>
          <a:xfrm>
            <a:off x="881541" y="6296397"/>
            <a:ext cx="1439250" cy="287933"/>
          </a:xfrm>
        </p:spPr>
        <p:txBody>
          <a:bodyPr/>
          <a:lstStyle/>
          <a:p>
            <a:fld id="{CBFE15F7-083B-EB45-8C55-BEF9086D749B}"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pic>
        <p:nvPicPr>
          <p:cNvPr id="8" name="Grafik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Tree>
    <p:extLst>
      <p:ext uri="{BB962C8B-B14F-4D97-AF65-F5344CB8AC3E}">
        <p14:creationId xmlns:p14="http://schemas.microsoft.com/office/powerpoint/2010/main" val="21118356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 5">
    <p:spTree>
      <p:nvGrpSpPr>
        <p:cNvPr id="1" name=""/>
        <p:cNvGrpSpPr/>
        <p:nvPr/>
      </p:nvGrpSpPr>
      <p:grpSpPr>
        <a:xfrm>
          <a:off x="0" y="0"/>
          <a:ext cx="0" cy="0"/>
          <a:chOff x="0" y="0"/>
          <a:chExt cx="0" cy="0"/>
        </a:xfrm>
      </p:grpSpPr>
      <p:pic>
        <p:nvPicPr>
          <p:cNvPr id="13" name="Picture 3">
            <a:extLst>
              <a:ext uri="{FF2B5EF4-FFF2-40B4-BE49-F238E27FC236}">
                <a16:creationId xmlns:a16="http://schemas.microsoft.com/office/drawing/2014/main" id="{A4566398-1A48-46CB-B975-8EC810441B20}"/>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172" y="0"/>
            <a:ext cx="12188828"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243883553"/>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grpSp>
        <p:nvGrpSpPr>
          <p:cNvPr id="14" name="Gruppieren 13">
            <a:extLst>
              <a:ext uri="{FF2B5EF4-FFF2-40B4-BE49-F238E27FC236}">
                <a16:creationId xmlns:a16="http://schemas.microsoft.com/office/drawing/2014/main" id="{711AC0C3-F78C-4E04-A599-A9031D12F492}"/>
              </a:ext>
            </a:extLst>
          </p:cNvPr>
          <p:cNvGrpSpPr/>
          <p:nvPr/>
        </p:nvGrpSpPr>
        <p:grpSpPr>
          <a:xfrm>
            <a:off x="60669" y="12701"/>
            <a:ext cx="7993287" cy="1406568"/>
            <a:chOff x="60701" y="3176"/>
            <a:chExt cx="7997450" cy="1406568"/>
          </a:xfrm>
        </p:grpSpPr>
        <p:pic>
          <p:nvPicPr>
            <p:cNvPr id="15" name="Picture 6" descr="L:\Projekte\01_Unternehmen\04_Corporate-Medien\PPT Präsentationen\9033_PPT Vorlage mit Puls\2_Entwicklung\Material\Puls etc\Puls_SWM_lang_16-9.png">
              <a:extLst>
                <a:ext uri="{FF2B5EF4-FFF2-40B4-BE49-F238E27FC236}">
                  <a16:creationId xmlns:a16="http://schemas.microsoft.com/office/drawing/2014/main" id="{8D1B7531-6D00-471B-A317-A90CBE105BB1}"/>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49">
              <a:extLst>
                <a:ext uri="{FF2B5EF4-FFF2-40B4-BE49-F238E27FC236}">
                  <a16:creationId xmlns:a16="http://schemas.microsoft.com/office/drawing/2014/main" id="{49E7E2CC-82BA-4F71-A3E4-AA78FA1D3306}"/>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0" name="Grafik 9">
            <a:extLst>
              <a:ext uri="{FF2B5EF4-FFF2-40B4-BE49-F238E27FC236}">
                <a16:creationId xmlns:a16="http://schemas.microsoft.com/office/drawing/2014/main" id="{ED3496CA-5BF8-4BEA-915A-E0642CF1D676}"/>
              </a:ext>
            </a:extLst>
          </p:cNvPr>
          <p:cNvPicPr>
            <a:picLocks noChangeAspect="1"/>
          </p:cNvPicPr>
          <p:nvPr/>
        </p:nvPicPr>
        <p:blipFill>
          <a:blip r:embed="rId8"/>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28427211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Kapiteleinsieg 03">
    <p:spTree>
      <p:nvGrpSpPr>
        <p:cNvPr id="1" name=""/>
        <p:cNvGrpSpPr/>
        <p:nvPr/>
      </p:nvGrpSpPr>
      <p:grpSpPr>
        <a:xfrm>
          <a:off x="0" y="0"/>
          <a:ext cx="0" cy="0"/>
          <a:chOff x="0" y="0"/>
          <a:chExt cx="0" cy="0"/>
        </a:xfrm>
      </p:grpSpPr>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793"/>
            <a:ext cx="12190451" cy="6857396"/>
          </a:xfrm>
          <a:prstGeom prst="rect">
            <a:avLst/>
          </a:prstGeom>
        </p:spPr>
      </p:pic>
      <p:cxnSp>
        <p:nvCxnSpPr>
          <p:cNvPr id="26" name="Gerade Verbindung 25"/>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9" name="Ellipse 28"/>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0" name="Ellipse 29"/>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1" name="Ellipse 30"/>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2" name="Ellipse 31"/>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9" name="Ellipse 3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40" name="Gerade Verbindung 39"/>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10"/>
          </p:nvPr>
        </p:nvSpPr>
        <p:spPr>
          <a:xfrm>
            <a:off x="881541" y="6296397"/>
            <a:ext cx="1439250" cy="287933"/>
          </a:xfrm>
        </p:spPr>
        <p:txBody>
          <a:bodyPr/>
          <a:lstStyle>
            <a:lvl1pPr>
              <a:defRPr>
                <a:solidFill>
                  <a:schemeClr val="bg1"/>
                </a:solidFill>
              </a:defRPr>
            </a:lvl1pPr>
          </a:lstStyle>
          <a:p>
            <a:fld id="{5305FE4F-4D74-4849-A905-C30718620ACC}"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pic>
        <p:nvPicPr>
          <p:cNvPr id="10" name="Grafik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20028" y="6342976"/>
            <a:ext cx="1070816" cy="266639"/>
          </a:xfrm>
          <a:prstGeom prst="rect">
            <a:avLst/>
          </a:prstGeom>
        </p:spPr>
      </p:pic>
      <p:sp>
        <p:nvSpPr>
          <p:cNvPr id="48" name="Textfeld 47"/>
          <p:cNvSpPr txBox="1"/>
          <p:nvPr/>
        </p:nvSpPr>
        <p:spPr>
          <a:xfrm>
            <a:off x="652802" y="6292465"/>
            <a:ext cx="433224" cy="276935"/>
          </a:xfrm>
          <a:prstGeom prst="rect">
            <a:avLst/>
          </a:prstGeom>
          <a:noFill/>
        </p:spPr>
        <p:txBody>
          <a:bodyPr wrap="square" rtlCol="0">
            <a:spAutoFit/>
          </a:bodyPr>
          <a:lstStyle/>
          <a:p>
            <a:r>
              <a:rPr lang="de-DE" sz="1199">
                <a:solidFill>
                  <a:schemeClr val="bg1"/>
                </a:solidFill>
              </a:rPr>
              <a:t>|</a:t>
            </a:r>
          </a:p>
        </p:txBody>
      </p:sp>
      <p:sp>
        <p:nvSpPr>
          <p:cNvPr id="24" name="Ellipse 23"/>
          <p:cNvSpPr/>
          <p:nvPr/>
        </p:nvSpPr>
        <p:spPr>
          <a:xfrm>
            <a:off x="61168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pic>
        <p:nvPicPr>
          <p:cNvPr id="5" name="Grafik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41167" y="5457078"/>
            <a:ext cx="392988" cy="393102"/>
          </a:xfrm>
          <a:prstGeom prst="rect">
            <a:avLst/>
          </a:prstGeom>
        </p:spPr>
      </p:pic>
      <p:sp>
        <p:nvSpPr>
          <p:cNvPr id="37" name="Inhaltsplatzhalter 2"/>
          <p:cNvSpPr>
            <a:spLocks noGrp="1"/>
          </p:cNvSpPr>
          <p:nvPr>
            <p:ph idx="17"/>
          </p:nvPr>
        </p:nvSpPr>
        <p:spPr>
          <a:xfrm rot="18900000">
            <a:off x="1619156" y="2789162"/>
            <a:ext cx="6327257" cy="477427"/>
          </a:xfrm>
          <a:effectLst>
            <a:outerShdw blurRad="76200" dist="63500" dir="2700000" algn="tl" rotWithShape="0">
              <a:prstClr val="black">
                <a:alpha val="57000"/>
              </a:prstClr>
            </a:outerShdw>
          </a:effectLst>
        </p:spPr>
        <p:txBody>
          <a:bodyPr>
            <a:noAutofit/>
          </a:bodyPr>
          <a:lstStyle>
            <a:lvl1pPr>
              <a:defRPr sz="3197">
                <a:solidFill>
                  <a:schemeClr val="bg1"/>
                </a:solidFill>
              </a:defRPr>
            </a:lvl1pPr>
          </a:lstStyle>
          <a:p>
            <a:pPr lvl="0"/>
            <a:r>
              <a:rPr lang="de-DE"/>
              <a:t>Textmasterformat bearbeiten</a:t>
            </a:r>
          </a:p>
        </p:txBody>
      </p:sp>
    </p:spTree>
    <p:extLst>
      <p:ext uri="{BB962C8B-B14F-4D97-AF65-F5344CB8AC3E}">
        <p14:creationId xmlns:p14="http://schemas.microsoft.com/office/powerpoint/2010/main" val="11324479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Inhalt 04">
    <p:spTree>
      <p:nvGrpSpPr>
        <p:cNvPr id="1" name=""/>
        <p:cNvGrpSpPr/>
        <p:nvPr/>
      </p:nvGrpSpPr>
      <p:grpSpPr>
        <a:xfrm>
          <a:off x="0" y="0"/>
          <a:ext cx="0" cy="0"/>
          <a:chOff x="0" y="0"/>
          <a:chExt cx="0" cy="0"/>
        </a:xfrm>
      </p:grpSpPr>
      <p:sp>
        <p:nvSpPr>
          <p:cNvPr id="5" name="Rechteck 4"/>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 name="Titel 1"/>
          <p:cNvSpPr>
            <a:spLocks noGrp="1"/>
          </p:cNvSpPr>
          <p:nvPr>
            <p:ph type="title"/>
          </p:nvPr>
        </p:nvSpPr>
        <p:spPr>
          <a:xfrm>
            <a:off x="919860" y="359918"/>
            <a:ext cx="10766853" cy="719833"/>
          </a:xfrm>
          <a:prstGeom prst="rect">
            <a:avLst/>
          </a:prstGeom>
        </p:spPr>
        <p:txBody>
          <a:bodyPr anchor="t" anchorCtr="0"/>
          <a:lstStyle/>
          <a:p>
            <a:r>
              <a:rPr lang="de-DE"/>
              <a:t>Titelmasterformat durch Klicken bearbeiten</a:t>
            </a:r>
          </a:p>
        </p:txBody>
      </p:sp>
      <p:sp>
        <p:nvSpPr>
          <p:cNvPr id="4" name="Datumsplatzhalter 3"/>
          <p:cNvSpPr>
            <a:spLocks noGrp="1"/>
          </p:cNvSpPr>
          <p:nvPr>
            <p:ph type="dt" sz="half" idx="10"/>
          </p:nvPr>
        </p:nvSpPr>
        <p:spPr>
          <a:xfrm>
            <a:off x="881541" y="6296397"/>
            <a:ext cx="1439250" cy="287933"/>
          </a:xfrm>
        </p:spPr>
        <p:txBody>
          <a:bodyPr/>
          <a:lstStyle/>
          <a:p>
            <a:fld id="{ED4A8FEA-6C5C-C54D-8A7A-89E9006967FF}"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sp>
        <p:nvSpPr>
          <p:cNvPr id="7" name="Textplatzhalter 3"/>
          <p:cNvSpPr>
            <a:spLocks noGrp="1"/>
          </p:cNvSpPr>
          <p:nvPr>
            <p:ph type="body" sz="quarter" idx="15"/>
          </p:nvPr>
        </p:nvSpPr>
        <p:spPr>
          <a:xfrm>
            <a:off x="503737" y="1151732"/>
            <a:ext cx="3957939" cy="2807350"/>
          </a:xfrm>
          <a:solidFill>
            <a:srgbClr val="4370B6"/>
          </a:solidFill>
        </p:spPr>
        <p:txBody>
          <a:bodyPr lIns="180000" tIns="180000">
            <a:noAutofit/>
          </a:bodyPr>
          <a:lstStyle>
            <a:lvl1pPr marL="251824" indent="-251824">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tabLst/>
              <a:defRPr sz="1699" b="0" baseline="0">
                <a:solidFill>
                  <a:schemeClr val="bg1"/>
                </a:solidFill>
              </a:defRPr>
            </a:lvl1pPr>
            <a:lvl2pPr marL="251824" indent="-251824">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tabLst/>
              <a:defRPr sz="1699" baseline="0">
                <a:solidFill>
                  <a:schemeClr val="bg1"/>
                </a:solidFill>
              </a:defRPr>
            </a:lvl2pPr>
            <a:lvl3pPr marL="251824" indent="-251824">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tabLst/>
              <a:defRPr sz="1699" baseline="0">
                <a:solidFill>
                  <a:schemeClr val="bg1"/>
                </a:solidFill>
              </a:defRPr>
            </a:lvl3pPr>
            <a:lvl4pPr marL="251824" indent="-251824">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tabLst/>
              <a:defRPr sz="1699" baseline="0">
                <a:solidFill>
                  <a:schemeClr val="bg1"/>
                </a:solidFill>
              </a:defRPr>
            </a:lvl4pPr>
            <a:lvl5pPr marL="251824" indent="-251824">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tabLst/>
              <a:defRPr sz="1699" baseline="0">
                <a:solidFill>
                  <a:schemeClr val="bg1"/>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8" name="Grafik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3739" y="447470"/>
            <a:ext cx="289410" cy="287970"/>
          </a:xfrm>
          <a:prstGeom prst="rect">
            <a:avLst/>
          </a:prstGeom>
        </p:spPr>
      </p:pic>
      <p:sp>
        <p:nvSpPr>
          <p:cNvPr id="10" name="Bildplatzhalter 9"/>
          <p:cNvSpPr>
            <a:spLocks noGrp="1"/>
          </p:cNvSpPr>
          <p:nvPr>
            <p:ph type="pic" sz="quarter" idx="16"/>
          </p:nvPr>
        </p:nvSpPr>
        <p:spPr>
          <a:xfrm>
            <a:off x="503739" y="4149406"/>
            <a:ext cx="1727887" cy="1728387"/>
          </a:xfrm>
        </p:spPr>
        <p:txBody>
          <a:bodyPr/>
          <a:lstStyle/>
          <a:p>
            <a:endParaRPr lang="de-DE"/>
          </a:p>
        </p:txBody>
      </p:sp>
      <p:sp>
        <p:nvSpPr>
          <p:cNvPr id="11" name="Bildplatzhalter 8"/>
          <p:cNvSpPr>
            <a:spLocks noGrp="1"/>
          </p:cNvSpPr>
          <p:nvPr>
            <p:ph type="pic" sz="quarter" idx="13"/>
          </p:nvPr>
        </p:nvSpPr>
        <p:spPr>
          <a:xfrm>
            <a:off x="4958217" y="1151734"/>
            <a:ext cx="6728496" cy="4642925"/>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pic>
        <p:nvPicPr>
          <p:cNvPr id="12" name="Grafik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Tree>
    <p:extLst>
      <p:ext uri="{BB962C8B-B14F-4D97-AF65-F5344CB8AC3E}">
        <p14:creationId xmlns:p14="http://schemas.microsoft.com/office/powerpoint/2010/main" val="7374458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Inhalt 02">
    <p:spTree>
      <p:nvGrpSpPr>
        <p:cNvPr id="1" name=""/>
        <p:cNvGrpSpPr/>
        <p:nvPr/>
      </p:nvGrpSpPr>
      <p:grpSpPr>
        <a:xfrm>
          <a:off x="0" y="0"/>
          <a:ext cx="0" cy="0"/>
          <a:chOff x="0" y="0"/>
          <a:chExt cx="0" cy="0"/>
        </a:xfrm>
      </p:grpSpPr>
      <p:sp>
        <p:nvSpPr>
          <p:cNvPr id="15" name="Rechteck 14"/>
          <p:cNvSpPr/>
          <p:nvPr/>
        </p:nvSpPr>
        <p:spPr>
          <a:xfrm>
            <a:off x="2086912" y="2123508"/>
            <a:ext cx="9585408" cy="29513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6" name="Rechteck 15"/>
          <p:cNvSpPr/>
          <p:nvPr/>
        </p:nvSpPr>
        <p:spPr>
          <a:xfrm>
            <a:off x="8483753" y="1531564"/>
            <a:ext cx="3203686" cy="3543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5" name="Rechteck 4"/>
          <p:cNvSpPr/>
          <p:nvPr/>
        </p:nvSpPr>
        <p:spPr>
          <a:xfrm>
            <a:off x="2086912" y="2123508"/>
            <a:ext cx="9585408" cy="29513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9" name="Bildplatzhalter 8"/>
          <p:cNvSpPr>
            <a:spLocks noGrp="1"/>
          </p:cNvSpPr>
          <p:nvPr>
            <p:ph type="pic" sz="quarter" idx="13"/>
          </p:nvPr>
        </p:nvSpPr>
        <p:spPr>
          <a:xfrm>
            <a:off x="503738" y="1151733"/>
            <a:ext cx="5253264" cy="2555408"/>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sp>
        <p:nvSpPr>
          <p:cNvPr id="12" name="Rechteck 11"/>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 name="Titel 1"/>
          <p:cNvSpPr>
            <a:spLocks noGrp="1"/>
          </p:cNvSpPr>
          <p:nvPr>
            <p:ph type="title"/>
          </p:nvPr>
        </p:nvSpPr>
        <p:spPr>
          <a:xfrm>
            <a:off x="503736" y="359918"/>
            <a:ext cx="11182976" cy="719833"/>
          </a:xfrm>
          <a:prstGeom prst="rect">
            <a:avLst/>
          </a:prstGeom>
        </p:spPr>
        <p:txBody>
          <a:bodyPr anchor="t" anchorCtr="0"/>
          <a:lstStyle/>
          <a:p>
            <a:r>
              <a:rPr lang="de-DE"/>
              <a:t>Titelmasterformat durch Klicken bearbeiten</a:t>
            </a:r>
          </a:p>
        </p:txBody>
      </p:sp>
      <p:sp>
        <p:nvSpPr>
          <p:cNvPr id="3" name="Inhaltsplatzhalter 2"/>
          <p:cNvSpPr>
            <a:spLocks noGrp="1"/>
          </p:cNvSpPr>
          <p:nvPr>
            <p:ph idx="1"/>
          </p:nvPr>
        </p:nvSpPr>
        <p:spPr>
          <a:xfrm>
            <a:off x="1934670" y="3852651"/>
            <a:ext cx="4054526" cy="1357634"/>
          </a:xfrm>
        </p:spPr>
        <p:txBody>
          <a:bodyPr/>
          <a:lstStyle>
            <a:lvl1pPr marL="251824" indent="-251824">
              <a:lnSpc>
                <a:spcPts val="1999"/>
              </a:lnSpc>
              <a:spcAft>
                <a:spcPts val="0"/>
              </a:spcAft>
              <a:buFontTx/>
              <a:buBlip>
                <a:blip r:embed="rId2">
                  <a:extLst>
                    <a:ext uri="{96DAC541-7B7A-43D3-8B79-37D633B846F1}">
                      <asvg:svgBlip xmlns:asvg="http://schemas.microsoft.com/office/drawing/2016/SVG/main" r:embed="rId3"/>
                    </a:ext>
                  </a:extLst>
                </a:blip>
              </a:buBlip>
              <a:defRPr b="0"/>
            </a:lvl1pPr>
            <a:lvl2pPr marL="251824" indent="-251824" defTabSz="1798740">
              <a:lnSpc>
                <a:spcPts val="1999"/>
              </a:lnSpc>
              <a:spcBef>
                <a:spcPts val="0"/>
              </a:spcBef>
              <a:spcAft>
                <a:spcPts val="0"/>
              </a:spcAft>
              <a:buFontTx/>
              <a:buBlip>
                <a:blip r:embed="rId2">
                  <a:extLst>
                    <a:ext uri="{96DAC541-7B7A-43D3-8B79-37D633B846F1}">
                      <asvg:svgBlip xmlns:asvg="http://schemas.microsoft.com/office/drawing/2016/SVG/main" r:embed="rId3"/>
                    </a:ext>
                  </a:extLst>
                </a:blip>
              </a:buBlip>
              <a:defRPr b="0"/>
            </a:lvl2pPr>
            <a:lvl3pPr marL="251824" indent="-251824" defTabSz="1798740">
              <a:lnSpc>
                <a:spcPts val="1999"/>
              </a:lnSpc>
              <a:spcBef>
                <a:spcPts val="0"/>
              </a:spcBef>
              <a:spcAft>
                <a:spcPts val="0"/>
              </a:spcAft>
              <a:buFontTx/>
              <a:buBlip>
                <a:blip r:embed="rId2">
                  <a:extLst>
                    <a:ext uri="{96DAC541-7B7A-43D3-8B79-37D633B846F1}">
                      <asvg:svgBlip xmlns:asvg="http://schemas.microsoft.com/office/drawing/2016/SVG/main" r:embed="rId3"/>
                    </a:ext>
                  </a:extLst>
                </a:blip>
              </a:buBlip>
              <a:defRPr b="0"/>
            </a:lvl3pPr>
            <a:lvl4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b="0"/>
            </a:lvl4pPr>
            <a:lvl5pPr marL="251824" indent="-251824" defTabSz="1798740">
              <a:lnSpc>
                <a:spcPts val="1999"/>
              </a:lnSpc>
              <a:spcBef>
                <a:spcPts val="0"/>
              </a:spcBef>
              <a:spcAft>
                <a:spcPts val="400"/>
              </a:spcAft>
              <a:buFontTx/>
              <a:buBlip>
                <a:blip r:embed="rId4"/>
              </a:buBlip>
              <a:defRPr b="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881541" y="6296397"/>
            <a:ext cx="1439250" cy="287933"/>
          </a:xfrm>
        </p:spPr>
        <p:txBody>
          <a:bodyPr/>
          <a:lstStyle/>
          <a:p>
            <a:fld id="{692B2BE8-5098-B147-92B8-13FE817A6211}"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pic>
        <p:nvPicPr>
          <p:cNvPr id="13" name="Grafik 1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
        <p:nvSpPr>
          <p:cNvPr id="10" name="Bildplatzhalter 8"/>
          <p:cNvSpPr>
            <a:spLocks noGrp="1"/>
          </p:cNvSpPr>
          <p:nvPr>
            <p:ph type="pic" sz="quarter" idx="14"/>
          </p:nvPr>
        </p:nvSpPr>
        <p:spPr>
          <a:xfrm>
            <a:off x="6008870" y="1079750"/>
            <a:ext cx="3274295" cy="5362758"/>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sp>
        <p:nvSpPr>
          <p:cNvPr id="11" name="Textplatzhalter 3"/>
          <p:cNvSpPr>
            <a:spLocks noGrp="1"/>
          </p:cNvSpPr>
          <p:nvPr>
            <p:ph type="body" sz="quarter" idx="15"/>
          </p:nvPr>
        </p:nvSpPr>
        <p:spPr>
          <a:xfrm>
            <a:off x="503737" y="4930858"/>
            <a:ext cx="4245789" cy="863800"/>
          </a:xfrm>
          <a:solidFill>
            <a:srgbClr val="4370B6"/>
          </a:solidFill>
          <a:effectLst>
            <a:outerShdw blurRad="101600" dist="38100" dir="2700000" algn="tl" rotWithShape="0">
              <a:prstClr val="black">
                <a:alpha val="40000"/>
              </a:prstClr>
            </a:outerShdw>
          </a:effectLst>
        </p:spPr>
        <p:txBody>
          <a:bodyPr lIns="180000" tIns="144000">
            <a:noAutofit/>
          </a:bodyPr>
          <a:lstStyle>
            <a:lvl1pPr marL="0" indent="0">
              <a:lnSpc>
                <a:spcPts val="1999"/>
              </a:lnSpc>
              <a:spcBef>
                <a:spcPts val="0"/>
              </a:spcBef>
              <a:spcAft>
                <a:spcPts val="400"/>
              </a:spcAft>
              <a:buFontTx/>
              <a:buNone/>
              <a:tabLst/>
              <a:defRPr sz="1699" b="0" baseline="0">
                <a:solidFill>
                  <a:schemeClr val="bg1"/>
                </a:solidFill>
              </a:defRPr>
            </a:lvl1pPr>
            <a:lvl2pPr marL="0" indent="0">
              <a:lnSpc>
                <a:spcPts val="1999"/>
              </a:lnSpc>
              <a:spcBef>
                <a:spcPts val="0"/>
              </a:spcBef>
              <a:spcAft>
                <a:spcPts val="400"/>
              </a:spcAft>
              <a:buFontTx/>
              <a:buNone/>
              <a:tabLst/>
              <a:defRPr sz="1699" baseline="0">
                <a:solidFill>
                  <a:schemeClr val="bg1"/>
                </a:solidFill>
              </a:defRPr>
            </a:lvl2pPr>
            <a:lvl3pPr marL="251824" indent="-251824">
              <a:lnSpc>
                <a:spcPts val="1999"/>
              </a:lnSpc>
              <a:spcBef>
                <a:spcPts val="0"/>
              </a:spcBef>
              <a:spcAft>
                <a:spcPts val="400"/>
              </a:spcAft>
              <a:buFontTx/>
              <a:buBlip>
                <a:blip r:embed="rId6"/>
              </a:buBlip>
              <a:tabLst/>
              <a:defRPr sz="1699" baseline="0">
                <a:solidFill>
                  <a:schemeClr val="bg1"/>
                </a:solidFill>
              </a:defRPr>
            </a:lvl3pPr>
            <a:lvl4pPr marL="251824" indent="-251824">
              <a:lnSpc>
                <a:spcPts val="1999"/>
              </a:lnSpc>
              <a:spcBef>
                <a:spcPts val="0"/>
              </a:spcBef>
              <a:spcAft>
                <a:spcPts val="400"/>
              </a:spcAft>
              <a:buFontTx/>
              <a:buBlip>
                <a:blip r:embed="rId6"/>
              </a:buBlip>
              <a:tabLst/>
              <a:defRPr sz="1699" baseline="0">
                <a:solidFill>
                  <a:schemeClr val="bg1"/>
                </a:solidFill>
              </a:defRPr>
            </a:lvl4pPr>
            <a:lvl5pPr marL="251824" indent="-251824">
              <a:lnSpc>
                <a:spcPts val="1999"/>
              </a:lnSpc>
              <a:spcBef>
                <a:spcPts val="0"/>
              </a:spcBef>
              <a:spcAft>
                <a:spcPts val="400"/>
              </a:spcAft>
              <a:buFontTx/>
              <a:buBlip>
                <a:blip r:embed="rId6"/>
              </a:buBlip>
              <a:tabLst/>
              <a:defRPr sz="1699" baseline="0">
                <a:solidFill>
                  <a:schemeClr val="bg1"/>
                </a:solidFill>
              </a:defRPr>
            </a:lvl5pPr>
          </a:lstStyle>
          <a:p>
            <a:pPr lvl="0"/>
            <a:r>
              <a:rPr lang="de-DE"/>
              <a:t>Textmasterformat bearbeiten</a:t>
            </a:r>
          </a:p>
        </p:txBody>
      </p:sp>
      <p:sp>
        <p:nvSpPr>
          <p:cNvPr id="14" name="Bildplatzhalter 8"/>
          <p:cNvSpPr>
            <a:spLocks noGrp="1"/>
          </p:cNvSpPr>
          <p:nvPr>
            <p:ph type="pic" sz="quarter" idx="16"/>
          </p:nvPr>
        </p:nvSpPr>
        <p:spPr>
          <a:xfrm>
            <a:off x="9365861" y="1690419"/>
            <a:ext cx="2420198" cy="3225548"/>
          </a:xfrm>
          <a:noFill/>
          <a:effectLst/>
        </p:spPr>
        <p:txBody>
          <a:bodyPr/>
          <a:lstStyle/>
          <a:p>
            <a:endParaRPr lang="de-DE"/>
          </a:p>
        </p:txBody>
      </p:sp>
    </p:spTree>
    <p:extLst>
      <p:ext uri="{BB962C8B-B14F-4D97-AF65-F5344CB8AC3E}">
        <p14:creationId xmlns:p14="http://schemas.microsoft.com/office/powerpoint/2010/main" val="32524091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Inhalt 03">
    <p:spTree>
      <p:nvGrpSpPr>
        <p:cNvPr id="1" name=""/>
        <p:cNvGrpSpPr/>
        <p:nvPr/>
      </p:nvGrpSpPr>
      <p:grpSpPr>
        <a:xfrm>
          <a:off x="0" y="0"/>
          <a:ext cx="0" cy="0"/>
          <a:chOff x="0" y="0"/>
          <a:chExt cx="0" cy="0"/>
        </a:xfrm>
      </p:grpSpPr>
      <p:sp>
        <p:nvSpPr>
          <p:cNvPr id="12" name="Rechteck 11"/>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 name="Titel 1"/>
          <p:cNvSpPr>
            <a:spLocks noGrp="1"/>
          </p:cNvSpPr>
          <p:nvPr>
            <p:ph type="title"/>
          </p:nvPr>
        </p:nvSpPr>
        <p:spPr>
          <a:xfrm>
            <a:off x="503736" y="359918"/>
            <a:ext cx="11182976" cy="719833"/>
          </a:xfrm>
          <a:prstGeom prst="rect">
            <a:avLst/>
          </a:prstGeom>
        </p:spPr>
        <p:txBody>
          <a:bodyPr anchor="t" anchorCtr="0"/>
          <a:lstStyle/>
          <a:p>
            <a:r>
              <a:rPr lang="de-DE"/>
              <a:t>Titelmasterformat durch Klicken bearbeiten</a:t>
            </a:r>
          </a:p>
        </p:txBody>
      </p:sp>
      <p:sp>
        <p:nvSpPr>
          <p:cNvPr id="3" name="Inhaltsplatzhalter 2"/>
          <p:cNvSpPr>
            <a:spLocks noGrp="1"/>
          </p:cNvSpPr>
          <p:nvPr>
            <p:ph idx="1"/>
          </p:nvPr>
        </p:nvSpPr>
        <p:spPr>
          <a:xfrm>
            <a:off x="503737" y="1151734"/>
            <a:ext cx="5325226" cy="4390983"/>
          </a:xfrm>
        </p:spPr>
        <p:txBody>
          <a:bodyPr/>
          <a:lstStyle>
            <a:lvl1pPr>
              <a:lnSpc>
                <a:spcPts val="1999"/>
              </a:lnSpc>
              <a:spcAft>
                <a:spcPts val="400"/>
              </a:spcAft>
              <a:defRPr/>
            </a:lvl1pPr>
            <a:lvl2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2pPr>
            <a:lvl3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3pPr>
            <a:lvl4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4pPr>
            <a:lvl5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881541" y="6296397"/>
            <a:ext cx="1439250" cy="287933"/>
          </a:xfrm>
        </p:spPr>
        <p:txBody>
          <a:bodyPr/>
          <a:lstStyle/>
          <a:p>
            <a:fld id="{6CB35F22-9D55-2A49-9412-7CB0F0B6E3DE}"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sp>
        <p:nvSpPr>
          <p:cNvPr id="9" name="Bildplatzhalter 8"/>
          <p:cNvSpPr>
            <a:spLocks noGrp="1"/>
          </p:cNvSpPr>
          <p:nvPr>
            <p:ph type="pic" sz="quarter" idx="13"/>
          </p:nvPr>
        </p:nvSpPr>
        <p:spPr>
          <a:xfrm>
            <a:off x="4749526" y="3887101"/>
            <a:ext cx="4713545" cy="2519417"/>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pic>
        <p:nvPicPr>
          <p:cNvPr id="13" name="Grafik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
        <p:nvSpPr>
          <p:cNvPr id="7" name="Bildplatzhalter 6"/>
          <p:cNvSpPr>
            <a:spLocks noGrp="1"/>
          </p:cNvSpPr>
          <p:nvPr>
            <p:ph type="pic" sz="quarter" idx="14"/>
          </p:nvPr>
        </p:nvSpPr>
        <p:spPr>
          <a:xfrm>
            <a:off x="5936908" y="611858"/>
            <a:ext cx="5828964" cy="3023300"/>
          </a:xfrm>
        </p:spPr>
        <p:txBody>
          <a:bodyPr/>
          <a:lstStyle/>
          <a:p>
            <a:endParaRPr lang="de-DE"/>
          </a:p>
        </p:txBody>
      </p:sp>
    </p:spTree>
    <p:extLst>
      <p:ext uri="{BB962C8B-B14F-4D97-AF65-F5344CB8AC3E}">
        <p14:creationId xmlns:p14="http://schemas.microsoft.com/office/powerpoint/2010/main" val="10709551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Kapiteleinsieg 04">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cxnSp>
        <p:nvCxnSpPr>
          <p:cNvPr id="26" name="Gerade Verbindung 25"/>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9" name="Ellipse 28"/>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0" name="Ellipse 29"/>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1" name="Ellipse 30"/>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2" name="Ellipse 31"/>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9" name="Ellipse 3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40" name="Gerade Verbindung 39"/>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10"/>
          </p:nvPr>
        </p:nvSpPr>
        <p:spPr>
          <a:xfrm>
            <a:off x="881541" y="6296397"/>
            <a:ext cx="1439250" cy="287933"/>
          </a:xfrm>
        </p:spPr>
        <p:txBody>
          <a:bodyPr/>
          <a:lstStyle>
            <a:lvl1pPr>
              <a:defRPr>
                <a:solidFill>
                  <a:schemeClr val="bg1"/>
                </a:solidFill>
              </a:defRPr>
            </a:lvl1pPr>
          </a:lstStyle>
          <a:p>
            <a:fld id="{4D189240-0ECF-D345-824C-BADABEA16999}"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sp>
        <p:nvSpPr>
          <p:cNvPr id="48" name="Textfeld 47"/>
          <p:cNvSpPr txBox="1"/>
          <p:nvPr/>
        </p:nvSpPr>
        <p:spPr>
          <a:xfrm>
            <a:off x="652802" y="6292465"/>
            <a:ext cx="433224" cy="276935"/>
          </a:xfrm>
          <a:prstGeom prst="rect">
            <a:avLst/>
          </a:prstGeom>
          <a:noFill/>
        </p:spPr>
        <p:txBody>
          <a:bodyPr wrap="square" rtlCol="0">
            <a:spAutoFit/>
          </a:bodyPr>
          <a:lstStyle/>
          <a:p>
            <a:r>
              <a:rPr lang="de-DE" sz="1199">
                <a:solidFill>
                  <a:schemeClr val="bg1"/>
                </a:solidFill>
              </a:rPr>
              <a:t>|</a:t>
            </a:r>
          </a:p>
        </p:txBody>
      </p:sp>
      <p:sp>
        <p:nvSpPr>
          <p:cNvPr id="24" name="Ellipse 23"/>
          <p:cNvSpPr/>
          <p:nvPr/>
        </p:nvSpPr>
        <p:spPr>
          <a:xfrm>
            <a:off x="61168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pic>
        <p:nvPicPr>
          <p:cNvPr id="33" name="Grafik 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pic>
        <p:nvPicPr>
          <p:cNvPr id="7" name="Grafik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50746" y="5457077"/>
            <a:ext cx="392988" cy="393102"/>
          </a:xfrm>
          <a:prstGeom prst="rect">
            <a:avLst/>
          </a:prstGeom>
        </p:spPr>
      </p:pic>
      <p:sp>
        <p:nvSpPr>
          <p:cNvPr id="36" name="Inhaltsplatzhalter 2"/>
          <p:cNvSpPr>
            <a:spLocks noGrp="1"/>
          </p:cNvSpPr>
          <p:nvPr>
            <p:ph idx="16"/>
          </p:nvPr>
        </p:nvSpPr>
        <p:spPr>
          <a:xfrm rot="18900000">
            <a:off x="2428735" y="2789161"/>
            <a:ext cx="6327257" cy="477427"/>
          </a:xfrm>
          <a:effectLst>
            <a:outerShdw blurRad="76200" dist="63500" dir="2700000" algn="tl" rotWithShape="0">
              <a:prstClr val="black">
                <a:alpha val="57000"/>
              </a:prstClr>
            </a:outerShdw>
          </a:effectLst>
        </p:spPr>
        <p:txBody>
          <a:bodyPr>
            <a:noAutofit/>
          </a:bodyPr>
          <a:lstStyle>
            <a:lvl1pPr>
              <a:defRPr sz="3197">
                <a:solidFill>
                  <a:schemeClr val="bg1"/>
                </a:solidFill>
              </a:defRPr>
            </a:lvl1pPr>
          </a:lstStyle>
          <a:p>
            <a:pPr lvl="0"/>
            <a:r>
              <a:rPr lang="de-DE"/>
              <a:t>Textmasterformat bearbeiten</a:t>
            </a:r>
          </a:p>
        </p:txBody>
      </p:sp>
    </p:spTree>
    <p:extLst>
      <p:ext uri="{BB962C8B-B14F-4D97-AF65-F5344CB8AC3E}">
        <p14:creationId xmlns:p14="http://schemas.microsoft.com/office/powerpoint/2010/main" val="5787603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Inhalt 06">
    <p:spTree>
      <p:nvGrpSpPr>
        <p:cNvPr id="1" name=""/>
        <p:cNvGrpSpPr/>
        <p:nvPr/>
      </p:nvGrpSpPr>
      <p:grpSpPr>
        <a:xfrm>
          <a:off x="0" y="0"/>
          <a:ext cx="0" cy="0"/>
          <a:chOff x="0" y="0"/>
          <a:chExt cx="0" cy="0"/>
        </a:xfrm>
      </p:grpSpPr>
      <p:sp>
        <p:nvSpPr>
          <p:cNvPr id="5" name="Rechteck 4"/>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 name="Inhaltsplatzhalter 2"/>
          <p:cNvSpPr>
            <a:spLocks noGrp="1"/>
          </p:cNvSpPr>
          <p:nvPr>
            <p:ph idx="1" hasCustomPrompt="1"/>
          </p:nvPr>
        </p:nvSpPr>
        <p:spPr>
          <a:xfrm>
            <a:off x="4303059" y="1151734"/>
            <a:ext cx="7384379" cy="4652981"/>
          </a:xfrm>
        </p:spPr>
        <p:txBody>
          <a:bodyPr/>
          <a:lstStyle>
            <a:lvl1pPr marL="251824" indent="-251824" defTabSz="1438992">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b="0"/>
            </a:lvl1pPr>
            <a:lvl2pPr marL="251824" indent="-251824" defTabSz="1438992">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b="0"/>
            </a:lvl2pPr>
            <a:lvl3pPr marL="251824" indent="-251824" defTabSz="1438992">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b="0"/>
            </a:lvl3pPr>
            <a:lvl4pPr marL="1798740" defTabSz="1438992">
              <a:spcBef>
                <a:spcPts val="0"/>
              </a:spcBef>
              <a:spcAft>
                <a:spcPts val="300"/>
              </a:spcAft>
              <a:defRPr b="0"/>
            </a:lvl4pPr>
            <a:lvl5pPr marL="1798740" defTabSz="1438992">
              <a:spcBef>
                <a:spcPts val="0"/>
              </a:spcBef>
              <a:spcAft>
                <a:spcPts val="300"/>
              </a:spcAft>
              <a:defRPr b="0"/>
            </a:lvl5pPr>
          </a:lstStyle>
          <a:p>
            <a:pPr lvl="0"/>
            <a:r>
              <a:rPr lang="de-DE"/>
              <a:t>Textmasterformat bearbeiten</a:t>
            </a:r>
          </a:p>
          <a:p>
            <a:pPr lvl="0"/>
            <a:r>
              <a:rPr lang="de-DE"/>
              <a:t>Zweite Ebene</a:t>
            </a:r>
          </a:p>
          <a:p>
            <a:pPr lvl="1"/>
            <a:r>
              <a:rPr lang="de-DE"/>
              <a:t>Dritte Ebene</a:t>
            </a:r>
          </a:p>
          <a:p>
            <a:pPr lvl="0"/>
            <a:r>
              <a:rPr lang="de-DE"/>
              <a:t>Vierte Ebene</a:t>
            </a:r>
          </a:p>
          <a:p>
            <a:pPr lvl="1"/>
            <a:r>
              <a:rPr lang="de-DE"/>
              <a:t>Fünfte Ebene</a:t>
            </a:r>
          </a:p>
        </p:txBody>
      </p:sp>
      <p:sp>
        <p:nvSpPr>
          <p:cNvPr id="4" name="Datumsplatzhalter 3"/>
          <p:cNvSpPr>
            <a:spLocks noGrp="1"/>
          </p:cNvSpPr>
          <p:nvPr>
            <p:ph type="dt" sz="half" idx="10"/>
          </p:nvPr>
        </p:nvSpPr>
        <p:spPr>
          <a:xfrm>
            <a:off x="881541" y="6296397"/>
            <a:ext cx="1439250" cy="287933"/>
          </a:xfrm>
        </p:spPr>
        <p:txBody>
          <a:bodyPr/>
          <a:lstStyle/>
          <a:p>
            <a:fld id="{A4C99C10-23DD-A141-B136-65A5AE377F90}"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pic>
        <p:nvPicPr>
          <p:cNvPr id="11" name="Grafik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
        <p:nvSpPr>
          <p:cNvPr id="12" name="Titel 1"/>
          <p:cNvSpPr>
            <a:spLocks noGrp="1"/>
          </p:cNvSpPr>
          <p:nvPr>
            <p:ph type="title"/>
          </p:nvPr>
        </p:nvSpPr>
        <p:spPr>
          <a:xfrm>
            <a:off x="504438" y="359918"/>
            <a:ext cx="11182274" cy="719833"/>
          </a:xfrm>
          <a:prstGeom prst="rect">
            <a:avLst/>
          </a:prstGeom>
        </p:spPr>
        <p:txBody>
          <a:bodyPr anchor="t" anchorCtr="0"/>
          <a:lstStyle/>
          <a:p>
            <a:r>
              <a:rPr lang="de-DE"/>
              <a:t>Titelmasterformat durch Klicken bearbeiten</a:t>
            </a:r>
          </a:p>
        </p:txBody>
      </p:sp>
      <p:sp>
        <p:nvSpPr>
          <p:cNvPr id="2" name="Bildplatzhalter 8">
            <a:extLst>
              <a:ext uri="{FF2B5EF4-FFF2-40B4-BE49-F238E27FC236}">
                <a16:creationId xmlns:a16="http://schemas.microsoft.com/office/drawing/2014/main" id="{CD205593-F771-B076-AE5D-8FC56C86B187}"/>
              </a:ext>
            </a:extLst>
          </p:cNvPr>
          <p:cNvSpPr>
            <a:spLocks noGrp="1"/>
          </p:cNvSpPr>
          <p:nvPr>
            <p:ph type="pic" sz="quarter" idx="13"/>
          </p:nvPr>
        </p:nvSpPr>
        <p:spPr>
          <a:xfrm>
            <a:off x="501389" y="1151734"/>
            <a:ext cx="3585882" cy="4642925"/>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spTree>
    <p:extLst>
      <p:ext uri="{BB962C8B-B14F-4D97-AF65-F5344CB8AC3E}">
        <p14:creationId xmlns:p14="http://schemas.microsoft.com/office/powerpoint/2010/main" val="925722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Inhalt 08">
    <p:spTree>
      <p:nvGrpSpPr>
        <p:cNvPr id="1" name=""/>
        <p:cNvGrpSpPr/>
        <p:nvPr/>
      </p:nvGrpSpPr>
      <p:grpSpPr>
        <a:xfrm>
          <a:off x="0" y="0"/>
          <a:ext cx="0" cy="0"/>
          <a:chOff x="0" y="0"/>
          <a:chExt cx="0" cy="0"/>
        </a:xfrm>
      </p:grpSpPr>
      <p:sp>
        <p:nvSpPr>
          <p:cNvPr id="12" name="Rechteck 11"/>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 name="Titel 1"/>
          <p:cNvSpPr>
            <a:spLocks noGrp="1"/>
          </p:cNvSpPr>
          <p:nvPr>
            <p:ph type="title"/>
          </p:nvPr>
        </p:nvSpPr>
        <p:spPr>
          <a:xfrm>
            <a:off x="503736" y="359918"/>
            <a:ext cx="11182976" cy="719833"/>
          </a:xfrm>
          <a:prstGeom prst="rect">
            <a:avLst/>
          </a:prstGeom>
        </p:spPr>
        <p:txBody>
          <a:bodyPr anchor="t" anchorCtr="0"/>
          <a:lstStyle/>
          <a:p>
            <a:r>
              <a:rPr lang="de-DE"/>
              <a:t>Titelmasterformat durch Klicken bearbeiten</a:t>
            </a:r>
          </a:p>
        </p:txBody>
      </p:sp>
      <p:sp>
        <p:nvSpPr>
          <p:cNvPr id="3" name="Inhaltsplatzhalter 2"/>
          <p:cNvSpPr>
            <a:spLocks noGrp="1"/>
          </p:cNvSpPr>
          <p:nvPr>
            <p:ph idx="1"/>
          </p:nvPr>
        </p:nvSpPr>
        <p:spPr>
          <a:xfrm>
            <a:off x="503737" y="1151734"/>
            <a:ext cx="5325226" cy="4390983"/>
          </a:xfrm>
        </p:spPr>
        <p:txBody>
          <a:bodyPr/>
          <a:lstStyle>
            <a:lvl1pPr>
              <a:lnSpc>
                <a:spcPts val="1999"/>
              </a:lnSpc>
              <a:spcAft>
                <a:spcPts val="400"/>
              </a:spcAft>
              <a:defRPr/>
            </a:lvl1pPr>
            <a:lvl2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2pPr>
            <a:lvl3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3pPr>
            <a:lvl4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4pPr>
            <a:lvl5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a:xfrm>
            <a:off x="881541" y="6296397"/>
            <a:ext cx="1439250" cy="287933"/>
          </a:xfrm>
        </p:spPr>
        <p:txBody>
          <a:bodyPr/>
          <a:lstStyle/>
          <a:p>
            <a:fld id="{004BC256-879B-064B-A91E-BB19BBF5B679}"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sp>
        <p:nvSpPr>
          <p:cNvPr id="9" name="Bildplatzhalter 8"/>
          <p:cNvSpPr>
            <a:spLocks noGrp="1"/>
          </p:cNvSpPr>
          <p:nvPr>
            <p:ph type="pic" sz="quarter" idx="13"/>
          </p:nvPr>
        </p:nvSpPr>
        <p:spPr>
          <a:xfrm>
            <a:off x="6095225" y="899792"/>
            <a:ext cx="5591488" cy="2339458"/>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pic>
        <p:nvPicPr>
          <p:cNvPr id="13" name="Grafik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
        <p:nvSpPr>
          <p:cNvPr id="10" name="Bildplatzhalter 8"/>
          <p:cNvSpPr>
            <a:spLocks noGrp="1"/>
          </p:cNvSpPr>
          <p:nvPr>
            <p:ph type="pic" sz="quarter" idx="14"/>
          </p:nvPr>
        </p:nvSpPr>
        <p:spPr>
          <a:xfrm>
            <a:off x="6096000" y="3455200"/>
            <a:ext cx="5591488" cy="2339458"/>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spTree>
    <p:extLst>
      <p:ext uri="{BB962C8B-B14F-4D97-AF65-F5344CB8AC3E}">
        <p14:creationId xmlns:p14="http://schemas.microsoft.com/office/powerpoint/2010/main" val="32235102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Kapiteleinsieg 05">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5" y="0"/>
            <a:ext cx="12190451" cy="6857396"/>
          </a:xfrm>
          <a:prstGeom prst="rect">
            <a:avLst/>
          </a:prstGeom>
        </p:spPr>
      </p:pic>
      <p:cxnSp>
        <p:nvCxnSpPr>
          <p:cNvPr id="26" name="Gerade Verbindung 25"/>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9" name="Ellipse 28"/>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0" name="Ellipse 29"/>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1" name="Ellipse 30"/>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2" name="Ellipse 31"/>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9" name="Ellipse 3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40" name="Gerade Verbindung 39"/>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10"/>
          </p:nvPr>
        </p:nvSpPr>
        <p:spPr>
          <a:xfrm>
            <a:off x="881541" y="6296397"/>
            <a:ext cx="1439250" cy="287933"/>
          </a:xfrm>
        </p:spPr>
        <p:txBody>
          <a:bodyPr/>
          <a:lstStyle>
            <a:lvl1pPr>
              <a:defRPr>
                <a:solidFill>
                  <a:schemeClr val="bg1"/>
                </a:solidFill>
              </a:defRPr>
            </a:lvl1pPr>
          </a:lstStyle>
          <a:p>
            <a:fld id="{F0F6E7C5-65CD-9C4B-98D5-DED63BD23740}"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sp>
        <p:nvSpPr>
          <p:cNvPr id="48" name="Textfeld 47"/>
          <p:cNvSpPr txBox="1"/>
          <p:nvPr/>
        </p:nvSpPr>
        <p:spPr>
          <a:xfrm>
            <a:off x="652802" y="6292465"/>
            <a:ext cx="433224" cy="276935"/>
          </a:xfrm>
          <a:prstGeom prst="rect">
            <a:avLst/>
          </a:prstGeom>
          <a:noFill/>
        </p:spPr>
        <p:txBody>
          <a:bodyPr wrap="square" rtlCol="0">
            <a:spAutoFit/>
          </a:bodyPr>
          <a:lstStyle/>
          <a:p>
            <a:r>
              <a:rPr lang="de-DE" sz="1199">
                <a:solidFill>
                  <a:schemeClr val="bg1"/>
                </a:solidFill>
              </a:rPr>
              <a:t>|</a:t>
            </a:r>
          </a:p>
        </p:txBody>
      </p:sp>
      <p:sp>
        <p:nvSpPr>
          <p:cNvPr id="24" name="Ellipse 23"/>
          <p:cNvSpPr/>
          <p:nvPr/>
        </p:nvSpPr>
        <p:spPr>
          <a:xfrm>
            <a:off x="61168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pic>
        <p:nvPicPr>
          <p:cNvPr id="36" name="Grafik 3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20028" y="6342976"/>
            <a:ext cx="1070816" cy="266639"/>
          </a:xfrm>
          <a:prstGeom prst="rect">
            <a:avLst/>
          </a:prstGeom>
        </p:spPr>
      </p:pic>
      <p:pic>
        <p:nvPicPr>
          <p:cNvPr id="5" name="Grafik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41284" y="5438033"/>
            <a:ext cx="431068" cy="431193"/>
          </a:xfrm>
          <a:prstGeom prst="rect">
            <a:avLst/>
          </a:prstGeom>
        </p:spPr>
      </p:pic>
      <p:sp>
        <p:nvSpPr>
          <p:cNvPr id="37" name="Inhaltsplatzhalter 2"/>
          <p:cNvSpPr>
            <a:spLocks noGrp="1"/>
          </p:cNvSpPr>
          <p:nvPr>
            <p:ph idx="18"/>
          </p:nvPr>
        </p:nvSpPr>
        <p:spPr>
          <a:xfrm rot="18900000">
            <a:off x="3238313" y="2789161"/>
            <a:ext cx="6327257" cy="477427"/>
          </a:xfrm>
          <a:effectLst>
            <a:outerShdw blurRad="76200" dist="63500" dir="2700000" algn="tl" rotWithShape="0">
              <a:prstClr val="black">
                <a:alpha val="57000"/>
              </a:prstClr>
            </a:outerShdw>
          </a:effectLst>
        </p:spPr>
        <p:txBody>
          <a:bodyPr>
            <a:noAutofit/>
          </a:bodyPr>
          <a:lstStyle>
            <a:lvl1pPr>
              <a:defRPr sz="3197">
                <a:solidFill>
                  <a:schemeClr val="bg1"/>
                </a:solidFill>
              </a:defRPr>
            </a:lvl1pPr>
          </a:lstStyle>
          <a:p>
            <a:pPr lvl="0"/>
            <a:r>
              <a:rPr lang="de-DE"/>
              <a:t>Textmasterformat bearbeiten</a:t>
            </a:r>
          </a:p>
        </p:txBody>
      </p:sp>
    </p:spTree>
    <p:extLst>
      <p:ext uri="{BB962C8B-B14F-4D97-AF65-F5344CB8AC3E}">
        <p14:creationId xmlns:p14="http://schemas.microsoft.com/office/powerpoint/2010/main" val="21256506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Inhalt 05">
    <p:spTree>
      <p:nvGrpSpPr>
        <p:cNvPr id="1" name=""/>
        <p:cNvGrpSpPr/>
        <p:nvPr/>
      </p:nvGrpSpPr>
      <p:grpSpPr>
        <a:xfrm>
          <a:off x="0" y="0"/>
          <a:ext cx="0" cy="0"/>
          <a:chOff x="0" y="0"/>
          <a:chExt cx="0" cy="0"/>
        </a:xfrm>
      </p:grpSpPr>
      <p:pic>
        <p:nvPicPr>
          <p:cNvPr id="39" name="Grafik 3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85460" y="427663"/>
            <a:ext cx="325967" cy="327585"/>
          </a:xfrm>
          <a:prstGeom prst="rect">
            <a:avLst/>
          </a:prstGeom>
        </p:spPr>
      </p:pic>
      <p:sp>
        <p:nvSpPr>
          <p:cNvPr id="35" name="Rechteck 34"/>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0" name="Bildplatzhalter 9"/>
          <p:cNvSpPr>
            <a:spLocks noGrp="1"/>
          </p:cNvSpPr>
          <p:nvPr>
            <p:ph type="pic" sz="quarter" idx="13"/>
          </p:nvPr>
        </p:nvSpPr>
        <p:spPr>
          <a:xfrm>
            <a:off x="1" y="1151733"/>
            <a:ext cx="12190414" cy="4894867"/>
          </a:xfrm>
          <a:solidFill>
            <a:schemeClr val="bg1">
              <a:lumMod val="85000"/>
            </a:schemeClr>
          </a:solidFill>
        </p:spPr>
        <p:txBody>
          <a:bodyPr/>
          <a:lstStyle/>
          <a:p>
            <a:endParaRPr lang="de-DE"/>
          </a:p>
        </p:txBody>
      </p:sp>
      <p:sp>
        <p:nvSpPr>
          <p:cNvPr id="2" name="Titel 1"/>
          <p:cNvSpPr>
            <a:spLocks noGrp="1"/>
          </p:cNvSpPr>
          <p:nvPr>
            <p:ph type="title"/>
          </p:nvPr>
        </p:nvSpPr>
        <p:spPr>
          <a:xfrm>
            <a:off x="919858" y="359918"/>
            <a:ext cx="10766854" cy="719833"/>
          </a:xfrm>
          <a:prstGeom prst="rect">
            <a:avLst/>
          </a:prstGeom>
        </p:spPr>
        <p:txBody>
          <a:bodyPr anchor="t" anchorCtr="0"/>
          <a:lstStyle/>
          <a:p>
            <a:r>
              <a:rPr lang="de-DE"/>
              <a:t>Titelmasterformat durch Klicken bearbeiten</a:t>
            </a:r>
          </a:p>
        </p:txBody>
      </p:sp>
      <p:sp>
        <p:nvSpPr>
          <p:cNvPr id="4" name="Datumsplatzhalter 3"/>
          <p:cNvSpPr>
            <a:spLocks noGrp="1"/>
          </p:cNvSpPr>
          <p:nvPr>
            <p:ph type="dt" sz="half" idx="10"/>
          </p:nvPr>
        </p:nvSpPr>
        <p:spPr>
          <a:xfrm>
            <a:off x="881541" y="6296397"/>
            <a:ext cx="1439250" cy="287933"/>
          </a:xfrm>
        </p:spPr>
        <p:txBody>
          <a:bodyPr/>
          <a:lstStyle/>
          <a:p>
            <a:fld id="{84C71F5B-46DA-EC43-BA41-B3FCE08DD1B6}" type="datetime4">
              <a:rPr lang="de-DE" smtClean="0"/>
              <a:t>19. März 2025</a:t>
            </a:fld>
            <a:endParaRPr lang="de-DE"/>
          </a:p>
        </p:txBody>
      </p:sp>
      <p:sp>
        <p:nvSpPr>
          <p:cNvPr id="6" name="Foliennummernplatzhalter 5"/>
          <p:cNvSpPr>
            <a:spLocks noGrp="1"/>
          </p:cNvSpPr>
          <p:nvPr>
            <p:ph type="sldNum" sz="quarter" idx="12"/>
          </p:nvPr>
        </p:nvSpPr>
        <p:spPr/>
        <p:txBody>
          <a:bodyPr/>
          <a:lstStyle/>
          <a:p>
            <a:fld id="{B4F6B972-CE55-4283-90F5-7B3D6C9491F8}" type="slidenum">
              <a:rPr lang="de-DE" smtClean="0"/>
              <a:t>‹Nr.›</a:t>
            </a:fld>
            <a:endParaRPr lang="de-DE"/>
          </a:p>
        </p:txBody>
      </p:sp>
      <p:pic>
        <p:nvPicPr>
          <p:cNvPr id="8" name="Grafik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
        <p:nvSpPr>
          <p:cNvPr id="38" name="Textplatzhalter 3"/>
          <p:cNvSpPr>
            <a:spLocks noGrp="1"/>
          </p:cNvSpPr>
          <p:nvPr>
            <p:ph type="body" sz="quarter" idx="15"/>
          </p:nvPr>
        </p:nvSpPr>
        <p:spPr>
          <a:xfrm>
            <a:off x="6706907" y="1511650"/>
            <a:ext cx="5483544" cy="1259708"/>
          </a:xfrm>
          <a:solidFill>
            <a:srgbClr val="4370B6"/>
          </a:solidFill>
        </p:spPr>
        <p:txBody>
          <a:bodyPr lIns="180000" tIns="180000">
            <a:noAutofit/>
          </a:bodyPr>
          <a:lstStyle>
            <a:lvl1pPr marL="251824" indent="-251824">
              <a:lnSpc>
                <a:spcPts val="1999"/>
              </a:lnSpc>
              <a:spcBef>
                <a:spcPts val="0"/>
              </a:spcBef>
              <a:spcAft>
                <a:spcPts val="400"/>
              </a:spcAft>
              <a:buFontTx/>
              <a:buBlip>
                <a:blip r:embed="rId4">
                  <a:extLst>
                    <a:ext uri="{96DAC541-7B7A-43D3-8B79-37D633B846F1}">
                      <asvg:svgBlip xmlns:asvg="http://schemas.microsoft.com/office/drawing/2016/SVG/main" r:embed="rId5"/>
                    </a:ext>
                  </a:extLst>
                </a:blip>
              </a:buBlip>
              <a:tabLst/>
              <a:defRPr sz="1699" b="0" baseline="0">
                <a:solidFill>
                  <a:schemeClr val="bg1"/>
                </a:solidFill>
              </a:defRPr>
            </a:lvl1pPr>
            <a:lvl2pPr marL="251824" indent="-251824">
              <a:lnSpc>
                <a:spcPts val="1999"/>
              </a:lnSpc>
              <a:spcBef>
                <a:spcPts val="0"/>
              </a:spcBef>
              <a:spcAft>
                <a:spcPts val="400"/>
              </a:spcAft>
              <a:buFontTx/>
              <a:buBlip>
                <a:blip r:embed="rId4">
                  <a:extLst>
                    <a:ext uri="{96DAC541-7B7A-43D3-8B79-37D633B846F1}">
                      <asvg:svgBlip xmlns:asvg="http://schemas.microsoft.com/office/drawing/2016/SVG/main" r:embed="rId5"/>
                    </a:ext>
                  </a:extLst>
                </a:blip>
              </a:buBlip>
              <a:tabLst/>
              <a:defRPr sz="1699" baseline="0">
                <a:solidFill>
                  <a:schemeClr val="bg1"/>
                </a:solidFill>
              </a:defRPr>
            </a:lvl2pPr>
            <a:lvl3pPr marL="251824" indent="-251824">
              <a:lnSpc>
                <a:spcPts val="1999"/>
              </a:lnSpc>
              <a:spcBef>
                <a:spcPts val="0"/>
              </a:spcBef>
              <a:spcAft>
                <a:spcPts val="400"/>
              </a:spcAft>
              <a:buFontTx/>
              <a:buBlip>
                <a:blip r:embed="rId6"/>
              </a:buBlip>
              <a:tabLst/>
              <a:defRPr sz="1699" baseline="0">
                <a:solidFill>
                  <a:schemeClr val="bg1"/>
                </a:solidFill>
              </a:defRPr>
            </a:lvl3pPr>
            <a:lvl4pPr marL="251824" indent="-251824">
              <a:lnSpc>
                <a:spcPts val="1999"/>
              </a:lnSpc>
              <a:spcBef>
                <a:spcPts val="0"/>
              </a:spcBef>
              <a:spcAft>
                <a:spcPts val="400"/>
              </a:spcAft>
              <a:buFontTx/>
              <a:buBlip>
                <a:blip r:embed="rId6"/>
              </a:buBlip>
              <a:tabLst/>
              <a:defRPr sz="1699" baseline="0">
                <a:solidFill>
                  <a:schemeClr val="bg1"/>
                </a:solidFill>
              </a:defRPr>
            </a:lvl4pPr>
            <a:lvl5pPr marL="251824" indent="-251824">
              <a:lnSpc>
                <a:spcPts val="1999"/>
              </a:lnSpc>
              <a:spcBef>
                <a:spcPts val="0"/>
              </a:spcBef>
              <a:spcAft>
                <a:spcPts val="400"/>
              </a:spcAft>
              <a:buFontTx/>
              <a:buBlip>
                <a:blip r:embed="rId6"/>
              </a:buBlip>
              <a:tabLst/>
              <a:defRPr sz="1699" baseline="0">
                <a:solidFill>
                  <a:schemeClr val="bg1"/>
                </a:solidFill>
              </a:defRPr>
            </a:lvl5pPr>
          </a:lstStyle>
          <a:p>
            <a:pPr lvl="0"/>
            <a:r>
              <a:rPr lang="de-DE"/>
              <a:t>Textmasterformat bearbeiten</a:t>
            </a:r>
          </a:p>
          <a:p>
            <a:pPr lvl="1"/>
            <a:r>
              <a:rPr lang="de-DE"/>
              <a:t>Zweite Ebene</a:t>
            </a:r>
          </a:p>
        </p:txBody>
      </p:sp>
    </p:spTree>
    <p:extLst>
      <p:ext uri="{BB962C8B-B14F-4D97-AF65-F5344CB8AC3E}">
        <p14:creationId xmlns:p14="http://schemas.microsoft.com/office/powerpoint/2010/main" val="3030713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Kapiteleinsieg 06">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2" cstate="hqprint">
            <a:extLst>
              <a:ext uri="{28A0092B-C50C-407E-A947-70E740481C1C}">
                <a14:useLocalDpi xmlns:a14="http://schemas.microsoft.com/office/drawing/2010/main"/>
              </a:ext>
            </a:extLst>
          </a:blip>
          <a:srcRect b="-121"/>
          <a:stretch/>
        </p:blipFill>
        <p:spPr>
          <a:xfrm>
            <a:off x="2" y="2"/>
            <a:ext cx="12188787" cy="6857999"/>
          </a:xfrm>
          <a:prstGeom prst="rect">
            <a:avLst/>
          </a:prstGeom>
        </p:spPr>
      </p:pic>
      <p:cxnSp>
        <p:nvCxnSpPr>
          <p:cNvPr id="26" name="Gerade Verbindung 25"/>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9" name="Ellipse 28"/>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0" name="Ellipse 29"/>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1" name="Ellipse 30"/>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2" name="Ellipse 31"/>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9" name="Ellipse 3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40" name="Gerade Verbindung 39"/>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10"/>
          </p:nvPr>
        </p:nvSpPr>
        <p:spPr>
          <a:xfrm>
            <a:off x="881541" y="6296397"/>
            <a:ext cx="1439250" cy="287933"/>
          </a:xfrm>
        </p:spPr>
        <p:txBody>
          <a:bodyPr/>
          <a:lstStyle>
            <a:lvl1pPr>
              <a:defRPr>
                <a:solidFill>
                  <a:schemeClr val="bg1"/>
                </a:solidFill>
              </a:defRPr>
            </a:lvl1pPr>
          </a:lstStyle>
          <a:p>
            <a:fld id="{0ED90763-7B36-4040-BFC5-49719F0604FE}"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sp>
        <p:nvSpPr>
          <p:cNvPr id="48" name="Textfeld 47"/>
          <p:cNvSpPr txBox="1"/>
          <p:nvPr/>
        </p:nvSpPr>
        <p:spPr>
          <a:xfrm>
            <a:off x="652802" y="6292465"/>
            <a:ext cx="433224" cy="276935"/>
          </a:xfrm>
          <a:prstGeom prst="rect">
            <a:avLst/>
          </a:prstGeom>
          <a:noFill/>
        </p:spPr>
        <p:txBody>
          <a:bodyPr wrap="square" rtlCol="0">
            <a:spAutoFit/>
          </a:bodyPr>
          <a:lstStyle/>
          <a:p>
            <a:r>
              <a:rPr lang="de-DE" sz="1199">
                <a:solidFill>
                  <a:schemeClr val="bg1"/>
                </a:solidFill>
              </a:rPr>
              <a:t>|</a:t>
            </a:r>
          </a:p>
        </p:txBody>
      </p:sp>
      <p:sp>
        <p:nvSpPr>
          <p:cNvPr id="24" name="Ellipse 23"/>
          <p:cNvSpPr/>
          <p:nvPr/>
        </p:nvSpPr>
        <p:spPr>
          <a:xfrm>
            <a:off x="61168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2" name="Ellipse 41"/>
          <p:cNvSpPr/>
          <p:nvPr/>
        </p:nvSpPr>
        <p:spPr>
          <a:xfrm>
            <a:off x="4586489" y="5473671"/>
            <a:ext cx="359813" cy="359917"/>
          </a:xfrm>
          <a:prstGeom prst="ellipse">
            <a:avLst/>
          </a:prstGeom>
          <a:solidFill>
            <a:srgbClr val="4370B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7" name="Ellipse 46"/>
          <p:cNvSpPr/>
          <p:nvPr/>
        </p:nvSpPr>
        <p:spPr>
          <a:xfrm>
            <a:off x="4659573" y="5546776"/>
            <a:ext cx="213645" cy="213707"/>
          </a:xfrm>
          <a:prstGeom prst="ellipse">
            <a:avLst/>
          </a:prstGeom>
          <a:solidFill>
            <a:schemeClr val="bg1"/>
          </a:solidFill>
          <a:ln w="3175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49" name="Inhaltsplatzhalter 2"/>
          <p:cNvSpPr>
            <a:spLocks noGrp="1"/>
          </p:cNvSpPr>
          <p:nvPr>
            <p:ph idx="15"/>
          </p:nvPr>
        </p:nvSpPr>
        <p:spPr>
          <a:xfrm rot="18900000">
            <a:off x="4047892" y="2789161"/>
            <a:ext cx="6327257" cy="477427"/>
          </a:xfrm>
          <a:effectLst>
            <a:outerShdw blurRad="76200" dist="63500" dir="2700000" algn="tl" rotWithShape="0">
              <a:prstClr val="black">
                <a:alpha val="57000"/>
              </a:prstClr>
            </a:outerShdw>
          </a:effectLst>
        </p:spPr>
        <p:txBody>
          <a:bodyPr>
            <a:noAutofit/>
          </a:bodyPr>
          <a:lstStyle>
            <a:lvl1pPr>
              <a:defRPr sz="3197">
                <a:solidFill>
                  <a:schemeClr val="bg1"/>
                </a:solidFill>
              </a:defRPr>
            </a:lvl1pPr>
          </a:lstStyle>
          <a:p>
            <a:pPr lvl="0"/>
            <a:r>
              <a:rPr lang="de-DE"/>
              <a:t>Textmasterformat bearbeiten</a:t>
            </a:r>
          </a:p>
        </p:txBody>
      </p:sp>
      <p:pic>
        <p:nvPicPr>
          <p:cNvPr id="3" name="Grafik 2">
            <a:extLst>
              <a:ext uri="{FF2B5EF4-FFF2-40B4-BE49-F238E27FC236}">
                <a16:creationId xmlns:a16="http://schemas.microsoft.com/office/drawing/2014/main" id="{00202FCD-1493-490B-230E-85E2FF504C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Tree>
    <p:extLst>
      <p:ext uri="{BB962C8B-B14F-4D97-AF65-F5344CB8AC3E}">
        <p14:creationId xmlns:p14="http://schemas.microsoft.com/office/powerpoint/2010/main" val="7009576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2_Titel 2">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D1F2BFEE-D603-4F72-9261-05F71CD52D67}"/>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970483982"/>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a:effectLst>
            <a:outerShdw blurRad="139700" dir="2700000" algn="tl" rotWithShape="0">
              <a:schemeClr val="bg2">
                <a:lumMod val="25000"/>
                <a:alpha val="24000"/>
              </a:schemeClr>
            </a:outerShdw>
          </a:effectLst>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a:effectLst>
            <a:outerShdw blurRad="139700" dir="2700000" algn="tl" rotWithShape="0">
              <a:schemeClr val="bg2">
                <a:lumMod val="25000"/>
                <a:alpha val="34000"/>
              </a:schemeClr>
            </a:outerShdw>
          </a:effectLst>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grpSp>
        <p:nvGrpSpPr>
          <p:cNvPr id="10" name="Gruppieren 9">
            <a:extLst>
              <a:ext uri="{FF2B5EF4-FFF2-40B4-BE49-F238E27FC236}">
                <a16:creationId xmlns:a16="http://schemas.microsoft.com/office/drawing/2014/main" id="{B1EC7C8D-3AA8-4692-A63A-3941597863B7}"/>
              </a:ext>
            </a:extLst>
          </p:cNvPr>
          <p:cNvGrpSpPr/>
          <p:nvPr/>
        </p:nvGrpSpPr>
        <p:grpSpPr>
          <a:xfrm>
            <a:off x="60669" y="12701"/>
            <a:ext cx="7993287" cy="1406568"/>
            <a:chOff x="60701" y="3176"/>
            <a:chExt cx="7997450" cy="1406568"/>
          </a:xfrm>
        </p:grpSpPr>
        <p:pic>
          <p:nvPicPr>
            <p:cNvPr id="11" name="Picture 6" descr="L:\Projekte\01_Unternehmen\04_Corporate-Medien\PPT Präsentationen\9033_PPT Vorlage mit Puls\2_Entwicklung\Material\Puls etc\Puls_SWM_lang_16-9.png">
              <a:extLst>
                <a:ext uri="{FF2B5EF4-FFF2-40B4-BE49-F238E27FC236}">
                  <a16:creationId xmlns:a16="http://schemas.microsoft.com/office/drawing/2014/main" id="{9140FE91-AE4B-4670-BB0A-095E63FAFC4E}"/>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49">
              <a:extLst>
                <a:ext uri="{FF2B5EF4-FFF2-40B4-BE49-F238E27FC236}">
                  <a16:creationId xmlns:a16="http://schemas.microsoft.com/office/drawing/2014/main" id="{160EF302-5C86-4D0D-B589-3FA748F26F27}"/>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3" name="Grafik 12">
            <a:extLst>
              <a:ext uri="{FF2B5EF4-FFF2-40B4-BE49-F238E27FC236}">
                <a16:creationId xmlns:a16="http://schemas.microsoft.com/office/drawing/2014/main" id="{1A50D828-068D-4133-B2AA-83701A1DAEBD}"/>
              </a:ext>
            </a:extLst>
          </p:cNvPr>
          <p:cNvPicPr>
            <a:picLocks noChangeAspect="1"/>
          </p:cNvPicPr>
          <p:nvPr/>
        </p:nvPicPr>
        <p:blipFill>
          <a:blip r:embed="rId8"/>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37093410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Kapiteleinsieg 07">
    <p:spTree>
      <p:nvGrpSpPr>
        <p:cNvPr id="1" name=""/>
        <p:cNvGrpSpPr/>
        <p:nvPr/>
      </p:nvGrpSpPr>
      <p:grpSpPr>
        <a:xfrm>
          <a:off x="0" y="0"/>
          <a:ext cx="0" cy="0"/>
          <a:chOff x="0" y="0"/>
          <a:chExt cx="0" cy="0"/>
        </a:xfrm>
      </p:grpSpPr>
      <p:pic>
        <p:nvPicPr>
          <p:cNvPr id="3" name="Grafik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50" y="793"/>
            <a:ext cx="12190451" cy="6857396"/>
          </a:xfrm>
          <a:prstGeom prst="rect">
            <a:avLst/>
          </a:prstGeom>
        </p:spPr>
      </p:pic>
      <p:cxnSp>
        <p:nvCxnSpPr>
          <p:cNvPr id="26" name="Gerade Verbindung 25"/>
          <p:cNvCxnSpPr/>
          <p:nvPr/>
        </p:nvCxnSpPr>
        <p:spPr>
          <a:xfrm>
            <a:off x="0" y="5653629"/>
            <a:ext cx="611681"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Ellipse 27"/>
          <p:cNvSpPr/>
          <p:nvPr/>
        </p:nvSpPr>
        <p:spPr>
          <a:xfrm>
            <a:off x="2230838"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9" name="Ellipse 28"/>
          <p:cNvSpPr/>
          <p:nvPr/>
        </p:nvSpPr>
        <p:spPr>
          <a:xfrm>
            <a:off x="1421260"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0" name="Ellipse 29"/>
          <p:cNvSpPr/>
          <p:nvPr/>
        </p:nvSpPr>
        <p:spPr>
          <a:xfrm>
            <a:off x="3040416"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1" name="Ellipse 30"/>
          <p:cNvSpPr/>
          <p:nvPr/>
        </p:nvSpPr>
        <p:spPr>
          <a:xfrm>
            <a:off x="3849995"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2" name="Ellipse 31"/>
          <p:cNvSpPr/>
          <p:nvPr/>
        </p:nvSpPr>
        <p:spPr>
          <a:xfrm>
            <a:off x="4659573"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9" name="Ellipse 38"/>
          <p:cNvSpPr/>
          <p:nvPr/>
        </p:nvSpPr>
        <p:spPr>
          <a:xfrm>
            <a:off x="546915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cxnSp>
        <p:nvCxnSpPr>
          <p:cNvPr id="40" name="Gerade Verbindung 39"/>
          <p:cNvCxnSpPr/>
          <p:nvPr/>
        </p:nvCxnSpPr>
        <p:spPr>
          <a:xfrm>
            <a:off x="825326"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a:off x="1634904"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44483"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3254061"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4063639"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4873218" y="5653629"/>
            <a:ext cx="595934" cy="0"/>
          </a:xfrm>
          <a:prstGeom prst="line">
            <a:avLst/>
          </a:prstGeom>
          <a:ln w="10160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Datumsplatzhalter 3"/>
          <p:cNvSpPr>
            <a:spLocks noGrp="1"/>
          </p:cNvSpPr>
          <p:nvPr>
            <p:ph type="dt" sz="half" idx="10"/>
          </p:nvPr>
        </p:nvSpPr>
        <p:spPr>
          <a:xfrm>
            <a:off x="881541" y="6296397"/>
            <a:ext cx="1439250" cy="287933"/>
          </a:xfrm>
        </p:spPr>
        <p:txBody>
          <a:bodyPr/>
          <a:lstStyle>
            <a:lvl1pPr>
              <a:defRPr>
                <a:solidFill>
                  <a:schemeClr val="bg1"/>
                </a:solidFill>
              </a:defRPr>
            </a:lvl1pPr>
          </a:lstStyle>
          <a:p>
            <a:fld id="{E70BD3A9-AFE5-3E4F-B330-CE36D6D00533}"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sp>
        <p:nvSpPr>
          <p:cNvPr id="48" name="Textfeld 47"/>
          <p:cNvSpPr txBox="1"/>
          <p:nvPr/>
        </p:nvSpPr>
        <p:spPr>
          <a:xfrm>
            <a:off x="652802" y="6292465"/>
            <a:ext cx="433224" cy="276935"/>
          </a:xfrm>
          <a:prstGeom prst="rect">
            <a:avLst/>
          </a:prstGeom>
          <a:noFill/>
        </p:spPr>
        <p:txBody>
          <a:bodyPr wrap="square" rtlCol="0">
            <a:spAutoFit/>
          </a:bodyPr>
          <a:lstStyle/>
          <a:p>
            <a:r>
              <a:rPr lang="de-DE" sz="1199">
                <a:solidFill>
                  <a:schemeClr val="bg1"/>
                </a:solidFill>
              </a:rPr>
              <a:t>|</a:t>
            </a:r>
          </a:p>
        </p:txBody>
      </p:sp>
      <p:sp>
        <p:nvSpPr>
          <p:cNvPr id="24" name="Ellipse 23"/>
          <p:cNvSpPr/>
          <p:nvPr/>
        </p:nvSpPr>
        <p:spPr>
          <a:xfrm>
            <a:off x="611681" y="5546776"/>
            <a:ext cx="213645" cy="213707"/>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pic>
        <p:nvPicPr>
          <p:cNvPr id="36" name="Grafik 3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20028" y="6342976"/>
            <a:ext cx="1070816" cy="266639"/>
          </a:xfrm>
          <a:prstGeom prst="rect">
            <a:avLst/>
          </a:prstGeom>
        </p:spPr>
      </p:pic>
      <p:sp>
        <p:nvSpPr>
          <p:cNvPr id="49" name="Inhaltsplatzhalter 2"/>
          <p:cNvSpPr>
            <a:spLocks noGrp="1"/>
          </p:cNvSpPr>
          <p:nvPr>
            <p:ph idx="15"/>
          </p:nvPr>
        </p:nvSpPr>
        <p:spPr>
          <a:xfrm rot="18900000">
            <a:off x="4857470" y="2789161"/>
            <a:ext cx="6327257" cy="477427"/>
          </a:xfrm>
          <a:effectLst>
            <a:outerShdw blurRad="76200" dist="63500" dir="2700000" algn="tl" rotWithShape="0">
              <a:prstClr val="black">
                <a:alpha val="57000"/>
              </a:prstClr>
            </a:outerShdw>
          </a:effectLst>
        </p:spPr>
        <p:txBody>
          <a:bodyPr>
            <a:noAutofit/>
          </a:bodyPr>
          <a:lstStyle>
            <a:lvl1pPr>
              <a:defRPr sz="3197">
                <a:solidFill>
                  <a:schemeClr val="bg1"/>
                </a:solidFill>
              </a:defRPr>
            </a:lvl1pPr>
          </a:lstStyle>
          <a:p>
            <a:pPr lvl="0"/>
            <a:r>
              <a:rPr lang="de-DE"/>
              <a:t>Textmasterformat bearbeiten</a:t>
            </a:r>
          </a:p>
        </p:txBody>
      </p:sp>
      <p:pic>
        <p:nvPicPr>
          <p:cNvPr id="35" name="Grafik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57367" y="5432700"/>
            <a:ext cx="441731" cy="440335"/>
          </a:xfrm>
          <a:prstGeom prst="rect">
            <a:avLst/>
          </a:prstGeom>
        </p:spPr>
      </p:pic>
    </p:spTree>
    <p:extLst>
      <p:ext uri="{BB962C8B-B14F-4D97-AF65-F5344CB8AC3E}">
        <p14:creationId xmlns:p14="http://schemas.microsoft.com/office/powerpoint/2010/main" val="85536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Abspann">
    <p:spTree>
      <p:nvGrpSpPr>
        <p:cNvPr id="1" name=""/>
        <p:cNvGrpSpPr/>
        <p:nvPr/>
      </p:nvGrpSpPr>
      <p:grpSpPr>
        <a:xfrm>
          <a:off x="0" y="0"/>
          <a:ext cx="0" cy="0"/>
          <a:chOff x="0" y="0"/>
          <a:chExt cx="0" cy="0"/>
        </a:xfrm>
      </p:grpSpPr>
      <p:pic>
        <p:nvPicPr>
          <p:cNvPr id="42" name="Grafik 4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1"/>
            <a:ext cx="12190451" cy="2618656"/>
          </a:xfrm>
          <a:prstGeom prst="rect">
            <a:avLst/>
          </a:prstGeom>
          <a:effectLst>
            <a:outerShdw blurRad="114300" dist="50800" dir="5400000" algn="t" rotWithShape="0">
              <a:prstClr val="black">
                <a:alpha val="21000"/>
              </a:prstClr>
            </a:outerShdw>
          </a:effectLst>
        </p:spPr>
      </p:pic>
      <p:sp>
        <p:nvSpPr>
          <p:cNvPr id="2" name="Titel 1"/>
          <p:cNvSpPr>
            <a:spLocks noGrp="1"/>
          </p:cNvSpPr>
          <p:nvPr>
            <p:ph type="title"/>
          </p:nvPr>
        </p:nvSpPr>
        <p:spPr>
          <a:xfrm>
            <a:off x="503736" y="359916"/>
            <a:ext cx="11182976" cy="1058856"/>
          </a:xfrm>
          <a:prstGeom prst="rect">
            <a:avLst/>
          </a:prstGeom>
        </p:spPr>
        <p:txBody>
          <a:bodyPr anchor="t" anchorCtr="0"/>
          <a:lstStyle>
            <a:lvl1pPr>
              <a:defRPr>
                <a:solidFill>
                  <a:schemeClr val="bg1"/>
                </a:solidFill>
              </a:defRPr>
            </a:lvl1pPr>
          </a:lstStyle>
          <a:p>
            <a:r>
              <a:rPr lang="de-DE"/>
              <a:t>Titelmasterformat durch Klicken bearbeiten</a:t>
            </a:r>
          </a:p>
        </p:txBody>
      </p:sp>
      <p:sp>
        <p:nvSpPr>
          <p:cNvPr id="4" name="Datumsplatzhalter 3"/>
          <p:cNvSpPr>
            <a:spLocks noGrp="1"/>
          </p:cNvSpPr>
          <p:nvPr>
            <p:ph type="dt" sz="half" idx="10"/>
          </p:nvPr>
        </p:nvSpPr>
        <p:spPr>
          <a:xfrm>
            <a:off x="881541" y="6296397"/>
            <a:ext cx="1439250" cy="287933"/>
          </a:xfrm>
        </p:spPr>
        <p:txBody>
          <a:bodyPr/>
          <a:lstStyle>
            <a:lvl1pPr>
              <a:defRPr>
                <a:solidFill>
                  <a:srgbClr val="706F6F"/>
                </a:solidFill>
              </a:defRPr>
            </a:lvl1pPr>
          </a:lstStyle>
          <a:p>
            <a:fld id="{0B365236-5B06-BF42-A22C-6F0F3EBB98AD}"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rgbClr val="706F6F"/>
                </a:solidFill>
              </a:defRPr>
            </a:lvl1pPr>
          </a:lstStyle>
          <a:p>
            <a:fld id="{B4F6B972-CE55-4283-90F5-7B3D6C9491F8}" type="slidenum">
              <a:rPr lang="de-DE" smtClean="0"/>
              <a:pPr/>
              <a:t>‹Nr.›</a:t>
            </a:fld>
            <a:endParaRPr lang="de-DE"/>
          </a:p>
        </p:txBody>
      </p:sp>
      <p:pic>
        <p:nvPicPr>
          <p:cNvPr id="7" name="Grafik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00232" y="317665"/>
            <a:ext cx="2082228" cy="519565"/>
          </a:xfrm>
          <a:prstGeom prst="rect">
            <a:avLst/>
          </a:prstGeom>
        </p:spPr>
      </p:pic>
      <p:pic>
        <p:nvPicPr>
          <p:cNvPr id="8" name="Grafik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21929" y="4892612"/>
            <a:ext cx="2778335" cy="1346907"/>
          </a:xfrm>
          <a:prstGeom prst="rect">
            <a:avLst/>
          </a:prstGeom>
          <a:effectLst>
            <a:outerShdw blurRad="76200" dist="50800" dir="2700000" algn="ctr" rotWithShape="0">
              <a:srgbClr val="000000">
                <a:alpha val="15000"/>
              </a:srgbClr>
            </a:outerShdw>
          </a:effectLst>
        </p:spPr>
      </p:pic>
      <p:cxnSp>
        <p:nvCxnSpPr>
          <p:cNvPr id="11" name="Gerade Verbindung 10"/>
          <p:cNvCxnSpPr/>
          <p:nvPr/>
        </p:nvCxnSpPr>
        <p:spPr>
          <a:xfrm>
            <a:off x="0" y="5653629"/>
            <a:ext cx="5577095" cy="0"/>
          </a:xfrm>
          <a:prstGeom prst="line">
            <a:avLst/>
          </a:prstGeom>
          <a:ln w="101600">
            <a:solidFill>
              <a:srgbClr val="4370B6"/>
            </a:solidFill>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611681"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7" name="Ellipse 16"/>
          <p:cNvSpPr/>
          <p:nvPr/>
        </p:nvSpPr>
        <p:spPr>
          <a:xfrm>
            <a:off x="2230838"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4" name="Ellipse 13"/>
          <p:cNvSpPr/>
          <p:nvPr/>
        </p:nvSpPr>
        <p:spPr>
          <a:xfrm>
            <a:off x="1421260"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18" name="Ellipse 17"/>
          <p:cNvSpPr/>
          <p:nvPr/>
        </p:nvSpPr>
        <p:spPr>
          <a:xfrm>
            <a:off x="3040416"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2" name="Ellipse 21"/>
          <p:cNvSpPr/>
          <p:nvPr/>
        </p:nvSpPr>
        <p:spPr>
          <a:xfrm>
            <a:off x="3849995"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4" name="Ellipse 23"/>
          <p:cNvSpPr/>
          <p:nvPr/>
        </p:nvSpPr>
        <p:spPr>
          <a:xfrm>
            <a:off x="4659573"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5" name="Ellipse 24"/>
          <p:cNvSpPr/>
          <p:nvPr/>
        </p:nvSpPr>
        <p:spPr>
          <a:xfrm>
            <a:off x="5469151" y="5546776"/>
            <a:ext cx="213645" cy="213707"/>
          </a:xfrm>
          <a:prstGeom prst="ellipse">
            <a:avLst/>
          </a:prstGeom>
          <a:solidFill>
            <a:schemeClr val="bg1"/>
          </a:solidFill>
          <a:ln w="38100">
            <a:solidFill>
              <a:srgbClr val="4370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38" name="Inhaltsplatzhalter 2"/>
          <p:cNvSpPr>
            <a:spLocks noGrp="1"/>
          </p:cNvSpPr>
          <p:nvPr>
            <p:ph idx="18"/>
          </p:nvPr>
        </p:nvSpPr>
        <p:spPr>
          <a:xfrm>
            <a:off x="503739" y="3648222"/>
            <a:ext cx="7932468" cy="1112681"/>
          </a:xfrm>
        </p:spPr>
        <p:txBody>
          <a:bodyPr>
            <a:normAutofit/>
          </a:bodyPr>
          <a:lstStyle>
            <a:lvl1pPr>
              <a:defRPr sz="3597">
                <a:solidFill>
                  <a:srgbClr val="4370B6"/>
                </a:solidFill>
              </a:defRPr>
            </a:lvl1pPr>
          </a:lstStyle>
          <a:p>
            <a:pPr lvl="0"/>
            <a:r>
              <a:rPr lang="de-DE"/>
              <a:t>Textmasterformat bearbeiten</a:t>
            </a:r>
          </a:p>
        </p:txBody>
      </p:sp>
    </p:spTree>
    <p:extLst>
      <p:ext uri="{BB962C8B-B14F-4D97-AF65-F5344CB8AC3E}">
        <p14:creationId xmlns:p14="http://schemas.microsoft.com/office/powerpoint/2010/main" val="17549946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3_Inhal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wrap="square"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8" y="1701801"/>
            <a:ext cx="11512904"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2" name="Datumsplatzhalter 1">
            <a:extLst>
              <a:ext uri="{FF2B5EF4-FFF2-40B4-BE49-F238E27FC236}">
                <a16:creationId xmlns:a16="http://schemas.microsoft.com/office/drawing/2014/main" id="{0FFA4B42-6694-472F-8F7B-4D1A20FB932F}"/>
              </a:ext>
            </a:extLst>
          </p:cNvPr>
          <p:cNvSpPr>
            <a:spLocks noGrp="1"/>
          </p:cNvSpPr>
          <p:nvPr>
            <p:ph type="dt" sz="half" idx="12"/>
          </p:nvPr>
        </p:nvSpPr>
        <p:spPr/>
        <p:txBody>
          <a:bodyPr/>
          <a:lstStyle/>
          <a:p>
            <a:pPr algn="r">
              <a:tabLst>
                <a:tab pos="1256671" algn="l"/>
                <a:tab pos="2687880" algn="l"/>
              </a:tabLst>
            </a:pPr>
            <a:endParaRPr lang="de-DE"/>
          </a:p>
        </p:txBody>
      </p:sp>
      <p:sp>
        <p:nvSpPr>
          <p:cNvPr id="8" name="Fußzeilenplatzhalter 7">
            <a:extLst>
              <a:ext uri="{FF2B5EF4-FFF2-40B4-BE49-F238E27FC236}">
                <a16:creationId xmlns:a16="http://schemas.microsoft.com/office/drawing/2014/main" id="{7A6C9896-7833-4D7D-8ED1-7CD87B336A61}"/>
              </a:ext>
            </a:extLst>
          </p:cNvPr>
          <p:cNvSpPr>
            <a:spLocks noGrp="1"/>
          </p:cNvSpPr>
          <p:nvPr>
            <p:ph type="ftr" sz="quarter" idx="13"/>
          </p:nvPr>
        </p:nvSpPr>
        <p:spPr/>
        <p:txBody>
          <a:bodyPr/>
          <a:lstStyle/>
          <a:p>
            <a:pPr>
              <a:tabLst>
                <a:tab pos="1256671" algn="l"/>
                <a:tab pos="2687880" algn="l"/>
              </a:tabLst>
            </a:pPr>
            <a:r>
              <a:rPr lang="de-DE"/>
              <a:t>M-Solar Plus der Stadtwerke München</a:t>
            </a:r>
          </a:p>
        </p:txBody>
      </p:sp>
      <p:sp>
        <p:nvSpPr>
          <p:cNvPr id="9" name="Foliennummernplatzhalter 8">
            <a:extLst>
              <a:ext uri="{FF2B5EF4-FFF2-40B4-BE49-F238E27FC236}">
                <a16:creationId xmlns:a16="http://schemas.microsoft.com/office/drawing/2014/main" id="{47B69DA0-2C7F-4A33-82F9-EFEF94312B2F}"/>
              </a:ext>
            </a:extLst>
          </p:cNvPr>
          <p:cNvSpPr>
            <a:spLocks noGrp="1"/>
          </p:cNvSpPr>
          <p:nvPr>
            <p:ph type="sldNum" sz="quarter" idx="14"/>
          </p:nvPr>
        </p:nvSpPr>
        <p:spPr/>
        <p:txBody>
          <a:bodyPr/>
          <a:lstStyle/>
          <a:p>
            <a:fld id="{CAAC1DFF-D847-41A9-936B-84F626DB394F}" type="slidenum">
              <a:rPr lang="de-DE" smtClean="0"/>
              <a:pPr/>
              <a:t>‹Nr.›</a:t>
            </a:fld>
            <a:endParaRPr lang="de-DE"/>
          </a:p>
        </p:txBody>
      </p:sp>
    </p:spTree>
    <p:custDataLst>
      <p:tags r:id="rId1"/>
    </p:custDataLst>
    <p:extLst>
      <p:ext uri="{BB962C8B-B14F-4D97-AF65-F5344CB8AC3E}">
        <p14:creationId xmlns:p14="http://schemas.microsoft.com/office/powerpoint/2010/main" val="198129241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Kapiteleinsieg 02">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69" y="794"/>
            <a:ext cx="12190451" cy="6856968"/>
          </a:xfrm>
          <a:prstGeom prst="rect">
            <a:avLst/>
          </a:prstGeom>
        </p:spPr>
      </p:pic>
      <p:sp>
        <p:nvSpPr>
          <p:cNvPr id="4" name="Datumsplatzhalter 3"/>
          <p:cNvSpPr>
            <a:spLocks noGrp="1"/>
          </p:cNvSpPr>
          <p:nvPr>
            <p:ph type="dt" sz="half" idx="10"/>
          </p:nvPr>
        </p:nvSpPr>
        <p:spPr>
          <a:xfrm>
            <a:off x="881541" y="6296398"/>
            <a:ext cx="1439250" cy="287933"/>
          </a:xfrm>
        </p:spPr>
        <p:txBody>
          <a:bodyPr/>
          <a:lstStyle>
            <a:lvl1pPr>
              <a:defRPr>
                <a:solidFill>
                  <a:schemeClr val="bg1"/>
                </a:solidFill>
              </a:defRPr>
            </a:lvl1pPr>
          </a:lstStyle>
          <a:p>
            <a:fld id="{31E0DC50-251E-D74D-8111-149AD9B11D90}" type="datetime4">
              <a:rPr lang="de-DE" smtClean="0"/>
              <a:t>19. März 2025</a:t>
            </a:fld>
            <a:endParaRPr lang="de-DE"/>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B4F6B972-CE55-4283-90F5-7B3D6C9491F8}" type="slidenum">
              <a:rPr lang="de-DE" smtClean="0"/>
              <a:pPr/>
              <a:t>‹Nr.›</a:t>
            </a:fld>
            <a:endParaRPr lang="de-DE"/>
          </a:p>
        </p:txBody>
      </p:sp>
      <p:pic>
        <p:nvPicPr>
          <p:cNvPr id="10" name="Grafik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20028" y="6342977"/>
            <a:ext cx="1070816" cy="266639"/>
          </a:xfrm>
          <a:prstGeom prst="rect">
            <a:avLst/>
          </a:prstGeom>
        </p:spPr>
      </p:pic>
      <p:sp>
        <p:nvSpPr>
          <p:cNvPr id="48" name="Textfeld 47"/>
          <p:cNvSpPr txBox="1"/>
          <p:nvPr userDrawn="1"/>
        </p:nvSpPr>
        <p:spPr>
          <a:xfrm>
            <a:off x="652802" y="6292466"/>
            <a:ext cx="433224" cy="276935"/>
          </a:xfrm>
          <a:prstGeom prst="rect">
            <a:avLst/>
          </a:prstGeom>
          <a:noFill/>
        </p:spPr>
        <p:txBody>
          <a:bodyPr wrap="square" rtlCol="0">
            <a:spAutoFit/>
          </a:bodyPr>
          <a:lstStyle/>
          <a:p>
            <a:r>
              <a:rPr lang="de-DE" sz="1198">
                <a:solidFill>
                  <a:schemeClr val="bg1"/>
                </a:solidFill>
              </a:rPr>
              <a:t>|</a:t>
            </a:r>
          </a:p>
        </p:txBody>
      </p:sp>
    </p:spTree>
    <p:extLst>
      <p:ext uri="{BB962C8B-B14F-4D97-AF65-F5344CB8AC3E}">
        <p14:creationId xmlns:p14="http://schemas.microsoft.com/office/powerpoint/2010/main" val="8626638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4_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944568851"/>
              </p:ex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2" name="Objekt 1" hidden="1"/>
                      <p:cNvPicPr/>
                      <p:nvPr/>
                    </p:nvPicPr>
                    <p:blipFill>
                      <a:blip r:embed="rId5"/>
                      <a:stretch>
                        <a:fillRect/>
                      </a:stretch>
                    </p:blipFill>
                    <p:spPr>
                      <a:xfrm>
                        <a:off x="1588" y="1590"/>
                        <a:ext cx="1587" cy="1587"/>
                      </a:xfrm>
                      <a:prstGeom prst="rect">
                        <a:avLst/>
                      </a:prstGeom>
                    </p:spPr>
                  </p:pic>
                </p:oleObj>
              </mc:Fallback>
            </mc:AlternateContent>
          </a:graphicData>
        </a:graphic>
      </p:graphicFrame>
      <p:sp>
        <p:nvSpPr>
          <p:cNvPr id="4" name="Textplatzhalter 3"/>
          <p:cNvSpPr>
            <a:spLocks noGrp="1"/>
          </p:cNvSpPr>
          <p:nvPr>
            <p:ph type="body" sz="quarter" idx="10" hasCustomPrompt="1"/>
          </p:nvPr>
        </p:nvSpPr>
        <p:spPr>
          <a:xfrm>
            <a:off x="339548" y="206375"/>
            <a:ext cx="11512904" cy="184666"/>
          </a:xfrm>
        </p:spPr>
        <p:txBody>
          <a:bodyPr wrap="square" lIns="0" tIns="0" rIns="0" bIns="0" anchor="ctr">
            <a:spAutoFit/>
          </a:bodyPr>
          <a:lstStyle>
            <a:lvl1pPr marL="0" indent="0">
              <a:buFontTx/>
              <a:buNone/>
              <a:defRPr sz="1198" b="1">
                <a:solidFill>
                  <a:schemeClr val="tx2"/>
                </a:solidFill>
              </a:defRPr>
            </a:lvl1pPr>
          </a:lstStyle>
          <a:p>
            <a:pPr lvl="0"/>
            <a:r>
              <a:rPr lang="de-DE"/>
              <a:t>Inhaltsübersicht</a:t>
            </a:r>
          </a:p>
        </p:txBody>
      </p:sp>
      <p:sp>
        <p:nvSpPr>
          <p:cNvPr id="6" name="Inhaltsplatzhalter 5"/>
          <p:cNvSpPr>
            <a:spLocks noGrp="1"/>
          </p:cNvSpPr>
          <p:nvPr>
            <p:ph sz="quarter" idx="11"/>
          </p:nvPr>
        </p:nvSpPr>
        <p:spPr>
          <a:xfrm>
            <a:off x="339548" y="1701803"/>
            <a:ext cx="11512904"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p:nvPr>
        </p:nvSpPr>
        <p:spPr>
          <a:xfrm>
            <a:off x="339548" y="730250"/>
            <a:ext cx="11512904" cy="369332"/>
          </a:xfrm>
        </p:spPr>
        <p:txBody>
          <a:bodyPr/>
          <a:lstStyle/>
          <a:p>
            <a:r>
              <a:rPr lang="de-DE"/>
              <a:t>Titelmasterformat durch Klicken bearbeiten</a:t>
            </a:r>
          </a:p>
        </p:txBody>
      </p:sp>
      <p:sp>
        <p:nvSpPr>
          <p:cNvPr id="5" name="Fußzeilenplatzhalter 1"/>
          <p:cNvSpPr>
            <a:spLocks noGrp="1"/>
          </p:cNvSpPr>
          <p:nvPr>
            <p:ph type="ftr" sz="quarter" idx="3"/>
          </p:nvPr>
        </p:nvSpPr>
        <p:spPr>
          <a:xfrm>
            <a:off x="1976294" y="6509589"/>
            <a:ext cx="1812997" cy="153760"/>
          </a:xfrm>
          <a:prstGeom prst="rect">
            <a:avLst/>
          </a:prstGeom>
          <a:noFill/>
        </p:spPr>
        <p:txBody>
          <a:bodyPr wrap="none" lIns="0" tIns="0" rIns="0" bIns="0" rtlCol="0">
            <a:spAutoFit/>
          </a:bodyPr>
          <a:lstStyle>
            <a:lvl1pPr>
              <a:defRPr lang="de-DE" sz="999">
                <a:solidFill>
                  <a:srgbClr val="738792"/>
                </a:solidFill>
                <a:latin typeface="Arial" pitchFamily="34" charset="0"/>
                <a:cs typeface="Arial" pitchFamily="34" charset="0"/>
              </a:defRPr>
            </a:lvl1pPr>
          </a:lstStyle>
          <a:p>
            <a:r>
              <a:rPr lang="de-DE"/>
              <a:t>SWM – Konzernabschluss 2022</a:t>
            </a:r>
          </a:p>
        </p:txBody>
      </p:sp>
      <p:sp>
        <p:nvSpPr>
          <p:cNvPr id="7" name="Datumsplatzhalter 5"/>
          <p:cNvSpPr>
            <a:spLocks noGrp="1"/>
          </p:cNvSpPr>
          <p:nvPr>
            <p:ph type="dt" sz="half" idx="2"/>
          </p:nvPr>
        </p:nvSpPr>
        <p:spPr>
          <a:xfrm>
            <a:off x="930223" y="6509589"/>
            <a:ext cx="1002346" cy="153888"/>
          </a:xfrm>
          <a:prstGeom prst="rect">
            <a:avLst/>
          </a:prstGeom>
          <a:noFill/>
        </p:spPr>
        <p:txBody>
          <a:bodyPr wrap="square" lIns="0" tIns="0" rIns="0" bIns="0" rtlCol="0">
            <a:spAutoFit/>
          </a:bodyPr>
          <a:lstStyle>
            <a:lvl1pPr>
              <a:defRPr lang="en-US" sz="999" smtClean="0">
                <a:solidFill>
                  <a:srgbClr val="738792"/>
                </a:solidFill>
                <a:latin typeface="Arial" pitchFamily="34" charset="0"/>
                <a:cs typeface="Arial" pitchFamily="34" charset="0"/>
              </a:defRPr>
            </a:lvl1pPr>
          </a:lstStyle>
          <a:p>
            <a:r>
              <a:rPr lang="de-DE"/>
              <a:t>28.04.2023</a:t>
            </a:r>
          </a:p>
        </p:txBody>
      </p:sp>
    </p:spTree>
    <p:custDataLst>
      <p:tags r:id="rId1"/>
    </p:custDataLst>
    <p:extLst>
      <p:ext uri="{BB962C8B-B14F-4D97-AF65-F5344CB8AC3E}">
        <p14:creationId xmlns:p14="http://schemas.microsoft.com/office/powerpoint/2010/main" val="9384362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Inhalt 01">
    <p:spTree>
      <p:nvGrpSpPr>
        <p:cNvPr id="1" name=""/>
        <p:cNvGrpSpPr/>
        <p:nvPr/>
      </p:nvGrpSpPr>
      <p:grpSpPr>
        <a:xfrm>
          <a:off x="0" y="0"/>
          <a:ext cx="0" cy="0"/>
          <a:chOff x="0" y="0"/>
          <a:chExt cx="0" cy="0"/>
        </a:xfrm>
      </p:grpSpPr>
      <p:sp>
        <p:nvSpPr>
          <p:cNvPr id="12" name="Rechteck 11"/>
          <p:cNvSpPr/>
          <p:nvPr/>
        </p:nvSpPr>
        <p:spPr>
          <a:xfrm>
            <a:off x="0" y="5138348"/>
            <a:ext cx="12192000" cy="908252"/>
          </a:xfrm>
          <a:prstGeom prst="rect">
            <a:avLst/>
          </a:prstGeom>
          <a:solidFill>
            <a:schemeClr val="bg1"/>
          </a:solidFill>
          <a:ln>
            <a:noFill/>
          </a:ln>
          <a:effectLst>
            <a:outerShdw blurRad="76200" dist="50800" dir="5400000" algn="t"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799"/>
          </a:p>
        </p:txBody>
      </p:sp>
      <p:sp>
        <p:nvSpPr>
          <p:cNvPr id="2" name="Titel 1"/>
          <p:cNvSpPr>
            <a:spLocks noGrp="1"/>
          </p:cNvSpPr>
          <p:nvPr>
            <p:ph type="title"/>
          </p:nvPr>
        </p:nvSpPr>
        <p:spPr>
          <a:xfrm>
            <a:off x="503736" y="359918"/>
            <a:ext cx="11182976" cy="719833"/>
          </a:xfrm>
          <a:prstGeom prst="rect">
            <a:avLst/>
          </a:prstGeom>
        </p:spPr>
        <p:txBody>
          <a:bodyPr anchor="t" anchorCtr="0"/>
          <a:lstStyle/>
          <a:p>
            <a:r>
              <a:rPr lang="de-DE"/>
              <a:t>Titelmasterformat durch Klicken bearbeiten</a:t>
            </a:r>
          </a:p>
        </p:txBody>
      </p:sp>
      <p:sp>
        <p:nvSpPr>
          <p:cNvPr id="3" name="Inhaltsplatzhalter 2"/>
          <p:cNvSpPr>
            <a:spLocks noGrp="1"/>
          </p:cNvSpPr>
          <p:nvPr>
            <p:ph idx="1" hasCustomPrompt="1"/>
          </p:nvPr>
        </p:nvSpPr>
        <p:spPr>
          <a:xfrm>
            <a:off x="503737" y="1151734"/>
            <a:ext cx="5325226" cy="4390983"/>
          </a:xfrm>
        </p:spPr>
        <p:txBody>
          <a:bodyPr/>
          <a:lstStyle>
            <a:lvl1pPr>
              <a:lnSpc>
                <a:spcPts val="1999"/>
              </a:lnSpc>
              <a:spcAft>
                <a:spcPts val="400"/>
              </a:spcAft>
              <a:defRPr/>
            </a:lvl1pPr>
            <a:lvl2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2pPr>
            <a:lvl3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3pPr>
            <a:lvl4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4pPr>
            <a:lvl5pPr marL="251824" indent="-251824" defTabSz="1798740">
              <a:lnSpc>
                <a:spcPts val="1999"/>
              </a:lnSpc>
              <a:spcBef>
                <a:spcPts val="0"/>
              </a:spcBef>
              <a:spcAft>
                <a:spcPts val="400"/>
              </a:spcAft>
              <a:buFontTx/>
              <a:buBlip>
                <a:blip r:embed="rId2">
                  <a:extLst>
                    <a:ext uri="{96DAC541-7B7A-43D3-8B79-37D633B846F1}">
                      <asvg:svgBlip xmlns:asvg="http://schemas.microsoft.com/office/drawing/2016/SVG/main" r:embed="rId3"/>
                    </a:ext>
                  </a:extLst>
                </a:blip>
              </a:buBlip>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8"/>
          <p:cNvSpPr>
            <a:spLocks noGrp="1"/>
          </p:cNvSpPr>
          <p:nvPr>
            <p:ph type="pic" sz="quarter" idx="13"/>
          </p:nvPr>
        </p:nvSpPr>
        <p:spPr>
          <a:xfrm>
            <a:off x="4958217" y="1151734"/>
            <a:ext cx="6728496" cy="4642925"/>
          </a:xfrm>
          <a:solidFill>
            <a:schemeClr val="bg1">
              <a:lumMod val="95000"/>
            </a:schemeClr>
          </a:solidFill>
          <a:effectLst>
            <a:outerShdw blurRad="101600" dist="38100" dir="2700000" algn="tl" rotWithShape="0">
              <a:prstClr val="black">
                <a:alpha val="25000"/>
              </a:prstClr>
            </a:outerShdw>
          </a:effectLst>
        </p:spPr>
        <p:txBody>
          <a:bodyPr/>
          <a:lstStyle/>
          <a:p>
            <a:endParaRPr lang="de-DE"/>
          </a:p>
        </p:txBody>
      </p:sp>
      <p:pic>
        <p:nvPicPr>
          <p:cNvPr id="13" name="Grafik 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618505" y="6341452"/>
            <a:ext cx="1072339" cy="268163"/>
          </a:xfrm>
          <a:prstGeom prst="rect">
            <a:avLst/>
          </a:prstGeom>
        </p:spPr>
      </p:pic>
      <p:sp>
        <p:nvSpPr>
          <p:cNvPr id="5" name="Fußzeilenplatzhalter 1">
            <a:extLst>
              <a:ext uri="{FF2B5EF4-FFF2-40B4-BE49-F238E27FC236}">
                <a16:creationId xmlns:a16="http://schemas.microsoft.com/office/drawing/2014/main" id="{960484D1-FA8F-6D35-AA36-D7B4E2B335FE}"/>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
        <p:nvSpPr>
          <p:cNvPr id="7" name="Datumsplatzhalter 5">
            <a:extLst>
              <a:ext uri="{FF2B5EF4-FFF2-40B4-BE49-F238E27FC236}">
                <a16:creationId xmlns:a16="http://schemas.microsoft.com/office/drawing/2014/main" id="{932767D7-762D-98FD-ECA9-330A31275963}"/>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8" name="Foliennummernplatzhalter 3">
            <a:extLst>
              <a:ext uri="{FF2B5EF4-FFF2-40B4-BE49-F238E27FC236}">
                <a16:creationId xmlns:a16="http://schemas.microsoft.com/office/drawing/2014/main" id="{F0C20DAD-4886-741B-20D2-FF903032949F}"/>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Tree>
    <p:extLst>
      <p:ext uri="{BB962C8B-B14F-4D97-AF65-F5344CB8AC3E}">
        <p14:creationId xmlns:p14="http://schemas.microsoft.com/office/powerpoint/2010/main" val="34486498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el 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01987976"/>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96616286-63D6-4964-A189-69188B459F43}"/>
              </a:ext>
            </a:extLst>
          </p:cNvPr>
          <p:cNvSpPr/>
          <p:nvPr userDrawn="1">
            <p:custDataLst>
              <p:tags r:id="rId3"/>
            </p:custDataLst>
          </p:nvPr>
        </p:nvSpPr>
        <p:spPr>
          <a:xfrm>
            <a:off x="0" y="0"/>
            <a:ext cx="158750" cy="1587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de-DE" sz="2799" b="1" i="0" baseline="0" err="1">
              <a:solidFill>
                <a:schemeClr val="tx1"/>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el 1"/>
          <p:cNvSpPr>
            <a:spLocks noGrp="1"/>
          </p:cNvSpPr>
          <p:nvPr>
            <p:ph type="ctrTitle" hasCustomPrompt="1"/>
          </p:nvPr>
        </p:nvSpPr>
        <p:spPr>
          <a:xfrm>
            <a:off x="904402" y="1701801"/>
            <a:ext cx="10948049" cy="954087"/>
          </a:xfrm>
          <a:prstGeom prst="rect">
            <a:avLst/>
          </a:prstGeom>
        </p:spPr>
        <p:txBody>
          <a:bodyPr lIns="0" rIns="0" anchor="t">
            <a:noAutofit/>
          </a:bodyPr>
          <a:lstStyle>
            <a:lvl1pPr marL="1587" indent="0" algn="l">
              <a:defRPr sz="2799"/>
            </a:lvl1pPr>
          </a:lstStyle>
          <a:p>
            <a:r>
              <a:rPr lang="de-DE"/>
              <a:t>Titelseite ohne Bild, Arial, 28pt</a:t>
            </a:r>
            <a:br>
              <a:rPr lang="de-DE"/>
            </a:br>
            <a:r>
              <a:rPr lang="de-DE" b="1"/>
              <a:t>Hervorhebung Aussage</a:t>
            </a:r>
            <a:endParaRPr lang="de-DE"/>
          </a:p>
        </p:txBody>
      </p:sp>
      <p:sp>
        <p:nvSpPr>
          <p:cNvPr id="3" name="Untertitel 2"/>
          <p:cNvSpPr>
            <a:spLocks noGrp="1"/>
          </p:cNvSpPr>
          <p:nvPr>
            <p:ph type="subTitle" idx="1" hasCustomPrompt="1"/>
          </p:nvPr>
        </p:nvSpPr>
        <p:spPr>
          <a:xfrm>
            <a:off x="904403" y="2660625"/>
            <a:ext cx="10948050" cy="642965"/>
          </a:xfrm>
        </p:spPr>
        <p:txBody>
          <a:bodyPr lIns="0" rIns="0" anchor="t" anchorCtr="0">
            <a:noAutofit/>
          </a:bodyPr>
          <a:lstStyle>
            <a:lvl1pPr marL="1587" indent="0" algn="l">
              <a:spcBef>
                <a:spcPts val="0"/>
              </a:spcBef>
              <a:buNone/>
              <a:defRPr sz="1399">
                <a:solidFill>
                  <a:schemeClr val="tx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sp useBgFill="1">
        <p:nvSpPr>
          <p:cNvPr id="42" name="Rectangle 33"/>
          <p:cNvSpPr>
            <a:spLocks noChangeArrowheads="1"/>
          </p:cNvSpPr>
          <p:nvPr/>
        </p:nvSpPr>
        <p:spPr bwMode="auto">
          <a:xfrm>
            <a:off x="3171" y="5911778"/>
            <a:ext cx="4694053" cy="553297"/>
          </a:xfrm>
          <a:prstGeom prst="rect">
            <a:avLst/>
          </a:prstGeom>
          <a:ln w="0">
            <a:noFill/>
            <a:prstDash val="solid"/>
            <a:miter lim="800000"/>
            <a:headEnd/>
            <a:tailEnd/>
          </a:ln>
        </p:spPr>
        <p:txBody>
          <a:bodyPr vert="horz" wrap="square" lIns="91392" tIns="45696" rIns="91392" bIns="45696" numCol="1" anchor="t" anchorCtr="0" compatLnSpc="1">
            <a:prstTxWarp prst="textNoShape">
              <a:avLst/>
            </a:prstTxWarp>
          </a:bodyPr>
          <a:lstStyle/>
          <a:p>
            <a:endParaRPr lang="de-DE" sz="1799"/>
          </a:p>
        </p:txBody>
      </p:sp>
      <p:pic>
        <p:nvPicPr>
          <p:cNvPr id="31" name="Grafik 30">
            <a:extLst>
              <a:ext uri="{FF2B5EF4-FFF2-40B4-BE49-F238E27FC236}">
                <a16:creationId xmlns:a16="http://schemas.microsoft.com/office/drawing/2014/main" id="{E86CFA02-3B4D-4B90-A054-0FBFCA841E8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64154" y="370722"/>
            <a:ext cx="1827847" cy="619688"/>
          </a:xfrm>
          <a:prstGeom prst="rect">
            <a:avLst/>
          </a:prstGeom>
        </p:spPr>
      </p:pic>
      <p:pic>
        <p:nvPicPr>
          <p:cNvPr id="32" name="Picture 2" descr="L:\Daten\_SWM Corporate Design\1_Grundelemente\1.5_Claim und Puls\Puls\Dezente Variante\Puls links\Puls_SWM_dezent_links_RGB_Blau.png">
            <a:extLst>
              <a:ext uri="{FF2B5EF4-FFF2-40B4-BE49-F238E27FC236}">
                <a16:creationId xmlns:a16="http://schemas.microsoft.com/office/drawing/2014/main" id="{621E154B-2257-4D79-AF10-86D1F660ACB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2193" y="5645921"/>
            <a:ext cx="2856409" cy="99708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9215736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Inhal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wrap="square"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8" y="1701801"/>
            <a:ext cx="11512904"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2" name="Datumsplatzhalter 1">
            <a:extLst>
              <a:ext uri="{FF2B5EF4-FFF2-40B4-BE49-F238E27FC236}">
                <a16:creationId xmlns:a16="http://schemas.microsoft.com/office/drawing/2014/main" id="{0FFA4B42-6694-472F-8F7B-4D1A20FB932F}"/>
              </a:ext>
            </a:extLst>
          </p:cNvPr>
          <p:cNvSpPr>
            <a:spLocks noGrp="1"/>
          </p:cNvSpPr>
          <p:nvPr>
            <p:ph type="dt" sz="half" idx="12"/>
          </p:nvPr>
        </p:nvSpPr>
        <p:spPr/>
        <p:txBody>
          <a:bodyPr/>
          <a:lstStyle/>
          <a:p>
            <a:r>
              <a:rPr lang="de-DE"/>
              <a:t>11.03.2024</a:t>
            </a:r>
          </a:p>
        </p:txBody>
      </p:sp>
      <p:sp>
        <p:nvSpPr>
          <p:cNvPr id="8" name="Fußzeilenplatzhalter 7">
            <a:extLst>
              <a:ext uri="{FF2B5EF4-FFF2-40B4-BE49-F238E27FC236}">
                <a16:creationId xmlns:a16="http://schemas.microsoft.com/office/drawing/2014/main" id="{7A6C9896-7833-4D7D-8ED1-7CD87B336A61}"/>
              </a:ext>
            </a:extLst>
          </p:cNvPr>
          <p:cNvSpPr>
            <a:spLocks noGrp="1"/>
          </p:cNvSpPr>
          <p:nvPr>
            <p:ph type="ftr" sz="quarter" idx="13"/>
          </p:nvPr>
        </p:nvSpPr>
        <p:spPr/>
        <p:txBody>
          <a:bodyPr/>
          <a:lstStyle/>
          <a:p>
            <a:r>
              <a:rPr lang="de-DE"/>
              <a:t>Transformationsplan Fernwärme</a:t>
            </a:r>
          </a:p>
        </p:txBody>
      </p:sp>
      <p:sp>
        <p:nvSpPr>
          <p:cNvPr id="9" name="Foliennummernplatzhalter 8">
            <a:extLst>
              <a:ext uri="{FF2B5EF4-FFF2-40B4-BE49-F238E27FC236}">
                <a16:creationId xmlns:a16="http://schemas.microsoft.com/office/drawing/2014/main" id="{47B69DA0-2C7F-4A33-82F9-EFEF94312B2F}"/>
              </a:ext>
            </a:extLst>
          </p:cNvPr>
          <p:cNvSpPr>
            <a:spLocks noGrp="1"/>
          </p:cNvSpPr>
          <p:nvPr>
            <p:ph type="sldNum" sz="quarter" idx="14"/>
          </p:nvPr>
        </p:nvSpPr>
        <p:spPr/>
        <p:txBody>
          <a:bodyPr/>
          <a:lstStyle/>
          <a:p>
            <a:fld id="{7BA819CD-7F2C-4EE9-B3FF-8A96496FF90D}" type="slidenum">
              <a:rPr lang="de-DE" smtClean="0"/>
              <a:t>‹Nr.›</a:t>
            </a:fld>
            <a:endParaRPr lang="de-DE"/>
          </a:p>
        </p:txBody>
      </p:sp>
    </p:spTree>
    <p:custDataLst>
      <p:tags r:id="rId1"/>
    </p:custDataLst>
    <p:extLst>
      <p:ext uri="{BB962C8B-B14F-4D97-AF65-F5344CB8AC3E}">
        <p14:creationId xmlns:p14="http://schemas.microsoft.com/office/powerpoint/2010/main" val="19597808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nhalt_Bild_2">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hasCustomPrompt="1"/>
          </p:nvPr>
        </p:nvSpPr>
        <p:spPr>
          <a:xfrm>
            <a:off x="339548" y="4028536"/>
            <a:ext cx="11512904" cy="220875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Bildplatzhalter 7"/>
          <p:cNvSpPr>
            <a:spLocks noGrp="1"/>
          </p:cNvSpPr>
          <p:nvPr>
            <p:ph type="pic" sz="quarter" idx="12"/>
          </p:nvPr>
        </p:nvSpPr>
        <p:spPr>
          <a:xfrm>
            <a:off x="339549" y="1701800"/>
            <a:ext cx="5648503" cy="216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8" name="Bildplatzhalter 7"/>
          <p:cNvSpPr>
            <a:spLocks noGrp="1"/>
          </p:cNvSpPr>
          <p:nvPr>
            <p:ph type="pic" sz="quarter" idx="13"/>
          </p:nvPr>
        </p:nvSpPr>
        <p:spPr>
          <a:xfrm>
            <a:off x="6201833" y="1701800"/>
            <a:ext cx="5650619" cy="2160000"/>
          </a:xfrm>
          <a:solidFill>
            <a:srgbClr val="B7C4CB"/>
          </a:solidFill>
        </p:spPr>
        <p:txBody>
          <a:bodyPr/>
          <a:lstStyle>
            <a:lvl1pPr marL="0" indent="0" algn="l">
              <a:buFontTx/>
              <a:buNone/>
              <a:defRPr sz="999" baseline="0">
                <a:solidFill>
                  <a:schemeClr val="bg1"/>
                </a:solidFill>
                <a:latin typeface="Arial"/>
              </a:defRPr>
            </a:lvl1pPr>
          </a:lstStyle>
          <a:p>
            <a:r>
              <a:rPr lang="de-DE"/>
              <a:t>Bild durch Klicken auf Symbol hinzufügen</a:t>
            </a:r>
          </a:p>
        </p:txBody>
      </p:sp>
      <p:sp>
        <p:nvSpPr>
          <p:cNvPr id="3" name="Titel 2"/>
          <p:cNvSpPr>
            <a:spLocks noGrp="1"/>
          </p:cNvSpPr>
          <p:nvPr>
            <p:ph type="title" hasCustomPrompt="1"/>
          </p:nvPr>
        </p:nvSpPr>
        <p:spPr>
          <a:xfrm>
            <a:off x="339548" y="730250"/>
            <a:ext cx="11512904" cy="369332"/>
          </a:xfrm>
        </p:spPr>
        <p:txBody>
          <a:bodyPr/>
          <a:lstStyle/>
          <a:p>
            <a:r>
              <a:rPr lang="de-DE"/>
              <a:t>Titelmasterformat durch Klicken bearbeiten</a:t>
            </a:r>
          </a:p>
        </p:txBody>
      </p:sp>
      <p:sp>
        <p:nvSpPr>
          <p:cNvPr id="2" name="Datumsplatzhalter 1">
            <a:extLst>
              <a:ext uri="{FF2B5EF4-FFF2-40B4-BE49-F238E27FC236}">
                <a16:creationId xmlns:a16="http://schemas.microsoft.com/office/drawing/2014/main" id="{841FF449-B6C7-45BC-90D8-CBAADC26C347}"/>
              </a:ext>
            </a:extLst>
          </p:cNvPr>
          <p:cNvSpPr>
            <a:spLocks noGrp="1"/>
          </p:cNvSpPr>
          <p:nvPr>
            <p:ph type="dt" sz="half" idx="14"/>
          </p:nvPr>
        </p:nvSpPr>
        <p:spPr/>
        <p:txBody>
          <a:bodyPr/>
          <a:lstStyle/>
          <a:p>
            <a:r>
              <a:rPr lang="de-DE"/>
              <a:t>11.03.2024</a:t>
            </a:r>
          </a:p>
        </p:txBody>
      </p:sp>
      <p:sp>
        <p:nvSpPr>
          <p:cNvPr id="5" name="Fußzeilenplatzhalter 4">
            <a:extLst>
              <a:ext uri="{FF2B5EF4-FFF2-40B4-BE49-F238E27FC236}">
                <a16:creationId xmlns:a16="http://schemas.microsoft.com/office/drawing/2014/main" id="{09B9FB19-0557-408B-ACB7-609C10E634ED}"/>
              </a:ext>
            </a:extLst>
          </p:cNvPr>
          <p:cNvSpPr>
            <a:spLocks noGrp="1"/>
          </p:cNvSpPr>
          <p:nvPr>
            <p:ph type="ftr" sz="quarter" idx="15"/>
          </p:nvPr>
        </p:nvSpPr>
        <p:spPr/>
        <p:txBody>
          <a:bodyPr/>
          <a:lstStyle/>
          <a:p>
            <a:r>
              <a:rPr lang="de-DE"/>
              <a:t>Transformationsplan Fernwärme</a:t>
            </a:r>
          </a:p>
        </p:txBody>
      </p:sp>
      <p:sp>
        <p:nvSpPr>
          <p:cNvPr id="11" name="Foliennummernplatzhalter 10">
            <a:extLst>
              <a:ext uri="{FF2B5EF4-FFF2-40B4-BE49-F238E27FC236}">
                <a16:creationId xmlns:a16="http://schemas.microsoft.com/office/drawing/2014/main" id="{D0AE7326-ED9C-4611-8594-9F6903CE1737}"/>
              </a:ext>
            </a:extLst>
          </p:cNvPr>
          <p:cNvSpPr>
            <a:spLocks noGrp="1"/>
          </p:cNvSpPr>
          <p:nvPr>
            <p:ph type="sldNum" sz="quarter" idx="16"/>
          </p:nvPr>
        </p:nvSpPr>
        <p:spPr/>
        <p:txBody>
          <a:bodyPr/>
          <a:lstStyle/>
          <a:p>
            <a:fld id="{7BA819CD-7F2C-4EE9-B3FF-8A96496FF90D}" type="slidenum">
              <a:rPr lang="de-DE" smtClean="0"/>
              <a:t>‹Nr.›</a:t>
            </a:fld>
            <a:endParaRPr lang="de-DE"/>
          </a:p>
        </p:txBody>
      </p:sp>
    </p:spTree>
    <p:custDataLst>
      <p:tags r:id="rId1"/>
    </p:custDataLst>
    <p:extLst>
      <p:ext uri="{BB962C8B-B14F-4D97-AF65-F5344CB8AC3E}">
        <p14:creationId xmlns:p14="http://schemas.microsoft.com/office/powerpoint/2010/main" val="6244993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Inhal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5FEB025-CFA9-4BE7-BD54-B3F9F377F2AF}"/>
              </a:ext>
            </a:extLst>
          </p:cNvPr>
          <p:cNvGraphicFramePr>
            <a:graphicFrameLocks noChangeAspect="1"/>
          </p:cNvGraphicFramePr>
          <p:nvPr userDrawn="1">
            <p:custDataLst>
              <p:tags r:id="rId2"/>
            </p:custDataLst>
            <p:extLst>
              <p:ext uri="{D42A27DB-BD31-4B8C-83A1-F6EECF244321}">
                <p14:modId xmlns:p14="http://schemas.microsoft.com/office/powerpoint/2010/main" val="2226141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08" imgH="408" progId="TCLayout.ActiveDocument.1">
                  <p:embed/>
                </p:oleObj>
              </mc:Choice>
              <mc:Fallback>
                <p:oleObj name="think-cell Folie" r:id="rId5" imgW="408" imgH="408" progId="TCLayout.ActiveDocument.1">
                  <p:embed/>
                  <p:pic>
                    <p:nvPicPr>
                      <p:cNvPr id="9" name="Objekt 8" hidden="1">
                        <a:extLst>
                          <a:ext uri="{FF2B5EF4-FFF2-40B4-BE49-F238E27FC236}">
                            <a16:creationId xmlns:a16="http://schemas.microsoft.com/office/drawing/2014/main" id="{05FEB025-CFA9-4BE7-BD54-B3F9F377F2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6D34CC47-626F-4793-B074-6BF4369847B0}"/>
              </a:ext>
            </a:extLst>
          </p:cNvPr>
          <p:cNvSpPr/>
          <p:nvPr userDrawn="1">
            <p:custDataLst>
              <p:tags r:id="rId3"/>
            </p:custDataLst>
          </p:nvPr>
        </p:nvSpPr>
        <p:spPr>
          <a:xfrm>
            <a:off x="0" y="0"/>
            <a:ext cx="158750" cy="1587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2399" b="0" i="0" baseline="0">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extplatzhalter 3"/>
          <p:cNvSpPr>
            <a:spLocks noGrp="1"/>
          </p:cNvSpPr>
          <p:nvPr>
            <p:ph type="body" sz="quarter" idx="10" hasCustomPrompt="1"/>
          </p:nvPr>
        </p:nvSpPr>
        <p:spPr>
          <a:xfrm>
            <a:off x="339548" y="206375"/>
            <a:ext cx="11512904" cy="184666"/>
          </a:xfrm>
        </p:spPr>
        <p:txBody>
          <a:bodyPr wrap="square"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p:nvPr>
        </p:nvSpPr>
        <p:spPr>
          <a:xfrm>
            <a:off x="339548" y="1701801"/>
            <a:ext cx="11512904"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hasCustomPrompt="1"/>
          </p:nvPr>
        </p:nvSpPr>
        <p:spPr>
          <a:xfrm>
            <a:off x="339548" y="730250"/>
            <a:ext cx="11512904" cy="369204"/>
          </a:xfrm>
        </p:spPr>
        <p:txBody>
          <a:bodyPr anchor="ctr"/>
          <a:lstStyle>
            <a:lvl1pPr>
              <a:defRPr/>
            </a:lvl1pPr>
          </a:lstStyle>
          <a:p>
            <a:r>
              <a:rPr lang="de-DE"/>
              <a:t>Titelmasterformat durch Klicken bearbeiten</a:t>
            </a:r>
          </a:p>
        </p:txBody>
      </p:sp>
      <p:sp>
        <p:nvSpPr>
          <p:cNvPr id="8" name="Inhaltsplatzhalter 8">
            <a:extLst>
              <a:ext uri="{FF2B5EF4-FFF2-40B4-BE49-F238E27FC236}">
                <a16:creationId xmlns:a16="http://schemas.microsoft.com/office/drawing/2014/main" id="{832C8A80-F776-4002-967C-26BBE35C3D71}"/>
              </a:ext>
            </a:extLst>
          </p:cNvPr>
          <p:cNvSpPr>
            <a:spLocks noGrp="1"/>
          </p:cNvSpPr>
          <p:nvPr>
            <p:ph sz="quarter" idx="15" hasCustomPrompt="1"/>
          </p:nvPr>
        </p:nvSpPr>
        <p:spPr>
          <a:xfrm>
            <a:off x="339548" y="1361721"/>
            <a:ext cx="11512904" cy="276999"/>
          </a:xfrm>
        </p:spPr>
        <p:txBody>
          <a:bodyPr wrap="square">
            <a:spAutoFit/>
          </a:bodyPr>
          <a:lstStyle>
            <a:lvl1pPr marL="0" indent="0">
              <a:buFontTx/>
              <a:buNone/>
              <a:defRPr sz="1800" b="1">
                <a:solidFill>
                  <a:schemeClr val="tx2"/>
                </a:solidFill>
              </a:defRPr>
            </a:lvl1pPr>
            <a:lvl2pPr marL="180975" indent="0">
              <a:buFontTx/>
              <a:buNone/>
              <a:defRPr/>
            </a:lvl2pPr>
            <a:lvl3pPr marL="361950" indent="0">
              <a:buFontTx/>
              <a:buNone/>
              <a:defRPr/>
            </a:lvl3pPr>
            <a:lvl4pPr marL="534988" indent="0">
              <a:buFontTx/>
              <a:buNone/>
              <a:defRPr/>
            </a:lvl4pPr>
            <a:lvl5pPr marL="715963" indent="0">
              <a:buFontTx/>
              <a:buNone/>
              <a:defRPr/>
            </a:lvl5pPr>
          </a:lstStyle>
          <a:p>
            <a:pPr lvl="0"/>
            <a:r>
              <a:rPr lang="de-DE" err="1"/>
              <a:t>Subtitle</a:t>
            </a:r>
            <a:endParaRPr lang="de-DE"/>
          </a:p>
        </p:txBody>
      </p:sp>
      <p:sp>
        <p:nvSpPr>
          <p:cNvPr id="10" name="Datumsplatzhalter 1">
            <a:extLst>
              <a:ext uri="{FF2B5EF4-FFF2-40B4-BE49-F238E27FC236}">
                <a16:creationId xmlns:a16="http://schemas.microsoft.com/office/drawing/2014/main" id="{0BA2E48A-C7CB-4130-B526-079252251CF4}"/>
              </a:ext>
            </a:extLst>
          </p:cNvPr>
          <p:cNvSpPr>
            <a:spLocks noGrp="1"/>
          </p:cNvSpPr>
          <p:nvPr>
            <p:ph type="dt" sz="half" idx="12"/>
          </p:nvPr>
        </p:nvSpPr>
        <p:spPr>
          <a:xfrm>
            <a:off x="930223" y="6509589"/>
            <a:ext cx="1002346" cy="153888"/>
          </a:xfrm>
        </p:spPr>
        <p:txBody>
          <a:bodyPr/>
          <a:lstStyle/>
          <a:p>
            <a:r>
              <a:rPr lang="de-DE"/>
              <a:t>11.03.2024</a:t>
            </a:r>
          </a:p>
        </p:txBody>
      </p:sp>
      <p:sp>
        <p:nvSpPr>
          <p:cNvPr id="11" name="Fußzeilenplatzhalter 7">
            <a:extLst>
              <a:ext uri="{FF2B5EF4-FFF2-40B4-BE49-F238E27FC236}">
                <a16:creationId xmlns:a16="http://schemas.microsoft.com/office/drawing/2014/main" id="{AD6ED982-007C-4E8C-B276-EB47EB8BE915}"/>
              </a:ext>
            </a:extLst>
          </p:cNvPr>
          <p:cNvSpPr>
            <a:spLocks noGrp="1"/>
          </p:cNvSpPr>
          <p:nvPr>
            <p:ph type="ftr" sz="quarter" idx="13"/>
          </p:nvPr>
        </p:nvSpPr>
        <p:spPr>
          <a:xfrm>
            <a:off x="1976292" y="6509589"/>
            <a:ext cx="5481070" cy="153888"/>
          </a:xfrm>
        </p:spPr>
        <p:txBody>
          <a:bodyPr/>
          <a:lstStyle/>
          <a:p>
            <a:r>
              <a:rPr lang="de-DE"/>
              <a:t>Transformationsplan Fernwärme</a:t>
            </a:r>
          </a:p>
        </p:txBody>
      </p:sp>
      <p:sp>
        <p:nvSpPr>
          <p:cNvPr id="12" name="Foliennummernplatzhalter 8">
            <a:extLst>
              <a:ext uri="{FF2B5EF4-FFF2-40B4-BE49-F238E27FC236}">
                <a16:creationId xmlns:a16="http://schemas.microsoft.com/office/drawing/2014/main" id="{00A3F68C-2D54-4496-BAB2-FC08F3F0A09C}"/>
              </a:ext>
            </a:extLst>
          </p:cNvPr>
          <p:cNvSpPr>
            <a:spLocks noGrp="1"/>
          </p:cNvSpPr>
          <p:nvPr>
            <p:ph type="sldNum" sz="quarter" idx="14"/>
          </p:nvPr>
        </p:nvSpPr>
        <p:spPr>
          <a:xfrm>
            <a:off x="344061" y="6509589"/>
            <a:ext cx="257950" cy="153888"/>
          </a:xfrm>
        </p:spPr>
        <p:txBody>
          <a:bodyPr/>
          <a:lstStyle/>
          <a:p>
            <a:fld id="{7BA819CD-7F2C-4EE9-B3FF-8A96496FF90D}" type="slidenum">
              <a:rPr lang="de-DE" smtClean="0"/>
              <a:t>‹Nr.›</a:t>
            </a:fld>
            <a:endParaRPr lang="de-DE"/>
          </a:p>
        </p:txBody>
      </p:sp>
    </p:spTree>
    <p:custDataLst>
      <p:tags r:id="rId1"/>
    </p:custDataLst>
    <p:extLst>
      <p:ext uri="{BB962C8B-B14F-4D97-AF65-F5344CB8AC3E}">
        <p14:creationId xmlns:p14="http://schemas.microsoft.com/office/powerpoint/2010/main" val="4260037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 7">
    <p:spTree>
      <p:nvGrpSpPr>
        <p:cNvPr id="1" name=""/>
        <p:cNvGrpSpPr/>
        <p:nvPr/>
      </p:nvGrpSpPr>
      <p:grpSpPr>
        <a:xfrm>
          <a:off x="0" y="0"/>
          <a:ext cx="0" cy="0"/>
          <a:chOff x="0" y="0"/>
          <a:chExt cx="0" cy="0"/>
        </a:xfrm>
      </p:grpSpPr>
      <p:pic>
        <p:nvPicPr>
          <p:cNvPr id="13" name="Picture 3">
            <a:extLst>
              <a:ext uri="{FF2B5EF4-FFF2-40B4-BE49-F238E27FC236}">
                <a16:creationId xmlns:a16="http://schemas.microsoft.com/office/drawing/2014/main" id="{13B367DB-3516-4946-B8E0-7D40C556E789}"/>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254643427"/>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5" name="Objekt 4" hidden="1"/>
                      <p:cNvPicPr/>
                      <p:nvPr/>
                    </p:nvPicPr>
                    <p:blipFill>
                      <a:blip r:embed="rId6"/>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p:spPr>
        <p:txBody>
          <a:bodyPr lIns="0" rIns="0" anchor="t">
            <a:noAutofit/>
          </a:bodyPr>
          <a:lstStyle>
            <a:lvl1pPr marL="1587" indent="0" algn="l">
              <a:defRPr sz="2799">
                <a:solidFill>
                  <a:schemeClr val="bg1"/>
                </a:solidFill>
              </a:defRPr>
            </a:lvl1pPr>
          </a:lstStyle>
          <a:p>
            <a:r>
              <a:rPr lang="de-DE"/>
              <a:t>Titelseite mit festem Bild,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p:spPr>
        <p:txBody>
          <a:bodyPr lIns="0" rIns="0" anchor="t" anchorCtr="0">
            <a:noAutofit/>
          </a:bodyPr>
          <a:lstStyle>
            <a:lvl1pPr marL="1587" indent="0" algn="l">
              <a:spcBef>
                <a:spcPts val="0"/>
              </a:spcBef>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grpSp>
        <p:nvGrpSpPr>
          <p:cNvPr id="14" name="Gruppieren 13">
            <a:extLst>
              <a:ext uri="{FF2B5EF4-FFF2-40B4-BE49-F238E27FC236}">
                <a16:creationId xmlns:a16="http://schemas.microsoft.com/office/drawing/2014/main" id="{092FEBA5-D837-41C5-ABCC-BD7D5B10C686}"/>
              </a:ext>
            </a:extLst>
          </p:cNvPr>
          <p:cNvGrpSpPr/>
          <p:nvPr/>
        </p:nvGrpSpPr>
        <p:grpSpPr>
          <a:xfrm>
            <a:off x="60669" y="12701"/>
            <a:ext cx="7993287" cy="1406568"/>
            <a:chOff x="60701" y="3176"/>
            <a:chExt cx="7997450" cy="1406568"/>
          </a:xfrm>
        </p:grpSpPr>
        <p:pic>
          <p:nvPicPr>
            <p:cNvPr id="15" name="Picture 6" descr="L:\Projekte\01_Unternehmen\04_Corporate-Medien\PPT Präsentationen\9033_PPT Vorlage mit Puls\2_Entwicklung\Material\Puls etc\Puls_SWM_lang_16-9.png">
              <a:extLst>
                <a:ext uri="{FF2B5EF4-FFF2-40B4-BE49-F238E27FC236}">
                  <a16:creationId xmlns:a16="http://schemas.microsoft.com/office/drawing/2014/main" id="{12270D29-675A-4162-BD80-19E348B65AF2}"/>
                </a:ext>
              </a:extLst>
            </p:cNvPr>
            <p:cNvPicPr>
              <a:picLocks noChangeAspect="1" noChangeArrowheads="1"/>
            </p:cNvPicPr>
            <p:nvPr userDrawn="1"/>
          </p:nvPicPr>
          <p:blipFill rotWithShape="1">
            <a:blip r:embed="rId7" cstate="screen">
              <a:extLst>
                <a:ext uri="{28A0092B-C50C-407E-A947-70E740481C1C}">
                  <a14:useLocalDpi xmlns:a14="http://schemas.microsoft.com/office/drawing/2010/main"/>
                </a:ext>
              </a:extLst>
            </a:blip>
            <a:srcRect/>
            <a:stretch/>
          </p:blipFill>
          <p:spPr bwMode="auto">
            <a:xfrm>
              <a:off x="60701" y="3176"/>
              <a:ext cx="7997450" cy="1406568"/>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49">
              <a:extLst>
                <a:ext uri="{FF2B5EF4-FFF2-40B4-BE49-F238E27FC236}">
                  <a16:creationId xmlns:a16="http://schemas.microsoft.com/office/drawing/2014/main" id="{B8BD4FA7-1876-4938-88EA-153496998B91}"/>
                </a:ext>
              </a:extLst>
            </p:cNvPr>
            <p:cNvSpPr txBox="1">
              <a:spLocks/>
            </p:cNvSpPr>
            <p:nvPr userDrawn="1"/>
          </p:nvSpPr>
          <p:spPr bwMode="gray">
            <a:xfrm>
              <a:off x="924637" y="813332"/>
              <a:ext cx="2715491" cy="215444"/>
            </a:xfrm>
            <a:prstGeom prst="rect">
              <a:avLst/>
            </a:prstGeom>
          </p:spPr>
          <p:txBody>
            <a:bodyPr vert="horz" wrap="square" lIns="0" tIns="0" rIns="0" bIns="0" rtlCol="0">
              <a:spAutoFit/>
            </a:bodyPr>
            <a:lstStyle>
              <a:lvl1pPr marL="177800" indent="-177800"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1pPr>
              <a:lvl2pPr marL="361950" indent="-180975" algn="l" defTabSz="914400" rtl="0" eaLnBrk="1" latinLnBrk="0" hangingPunct="1">
                <a:spcBef>
                  <a:spcPts val="600"/>
                </a:spcBef>
                <a:buClr>
                  <a:schemeClr val="tx2"/>
                </a:buClr>
                <a:buSzPct val="140000"/>
                <a:buFont typeface="Wingdings 3" pitchFamily="18" charset="2"/>
                <a:buChar char="ê"/>
                <a:tabLst>
                  <a:tab pos="361950" algn="l"/>
                </a:tabLst>
                <a:defRPr sz="1800" kern="1200">
                  <a:solidFill>
                    <a:schemeClr val="tx1"/>
                  </a:solidFill>
                  <a:latin typeface="Arial" pitchFamily="34" charset="0"/>
                  <a:ea typeface="+mn-ea"/>
                  <a:cs typeface="Arial" pitchFamily="34" charset="0"/>
                </a:defRPr>
              </a:lvl2pPr>
              <a:lvl3pPr marL="534988" indent="-173038"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3pPr>
              <a:lvl4pPr marL="715963"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4pPr>
              <a:lvl5pPr marL="896938" indent="-180975" algn="l" defTabSz="914400" rtl="0" eaLnBrk="1" latinLnBrk="0" hangingPunct="1">
                <a:spcBef>
                  <a:spcPts val="600"/>
                </a:spcBef>
                <a:buClr>
                  <a:schemeClr val="tx2"/>
                </a:buClr>
                <a:buSzPct val="140000"/>
                <a:buFont typeface="Wingdings 3" pitchFamily="18" charset="2"/>
                <a:buChar char="ê"/>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399" b="1">
                  <a:solidFill>
                    <a:schemeClr val="bg1"/>
                  </a:solidFill>
                </a:rPr>
                <a:t>Der Puls unserer Stadt</a:t>
              </a:r>
            </a:p>
          </p:txBody>
        </p:sp>
      </p:grpSp>
      <p:pic>
        <p:nvPicPr>
          <p:cNvPr id="10" name="Grafik 9">
            <a:extLst>
              <a:ext uri="{FF2B5EF4-FFF2-40B4-BE49-F238E27FC236}">
                <a16:creationId xmlns:a16="http://schemas.microsoft.com/office/drawing/2014/main" id="{AE9EF944-FC57-4D6D-8CBC-60179658E6C4}"/>
              </a:ext>
            </a:extLst>
          </p:cNvPr>
          <p:cNvPicPr>
            <a:picLocks noChangeAspect="1"/>
          </p:cNvPicPr>
          <p:nvPr/>
        </p:nvPicPr>
        <p:blipFill>
          <a:blip r:embed="rId8"/>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787452153"/>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Inhal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467785" y="206375"/>
            <a:ext cx="11254316" cy="184666"/>
          </a:xfrm>
        </p:spPr>
        <p:txBody>
          <a:bodyPr lIns="0" tIns="0" rIns="0" bIns="0" anchor="ctr">
            <a:spAutoFit/>
          </a:bodyPr>
          <a:lstStyle>
            <a:lvl1pPr marL="0" indent="0">
              <a:buFontTx/>
              <a:buNone/>
              <a:defRPr sz="1199" b="1">
                <a:solidFill>
                  <a:schemeClr val="tx2"/>
                </a:solidFill>
              </a:defRPr>
            </a:lvl1pPr>
          </a:lstStyle>
          <a:p>
            <a:r>
              <a:rPr lang="de-DE"/>
              <a:t>Kapitelangabe</a:t>
            </a:r>
          </a:p>
        </p:txBody>
      </p:sp>
      <p:sp>
        <p:nvSpPr>
          <p:cNvPr id="6" name="Inhaltsplatzhalter 5"/>
          <p:cNvSpPr>
            <a:spLocks noGrp="1"/>
          </p:cNvSpPr>
          <p:nvPr>
            <p:ph sz="quarter" idx="11"/>
          </p:nvPr>
        </p:nvSpPr>
        <p:spPr>
          <a:xfrm>
            <a:off x="467783" y="1701802"/>
            <a:ext cx="11254316" cy="453548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p:nvPr>
        </p:nvSpPr>
        <p:spPr/>
        <p:txBody>
          <a:bodyPr/>
          <a:lstStyle/>
          <a:p>
            <a:r>
              <a:rPr lang="de-DE"/>
              <a:t>Titelmasterformat durch Klicken bearbeiten</a:t>
            </a:r>
          </a:p>
        </p:txBody>
      </p:sp>
    </p:spTree>
    <p:custDataLst>
      <p:tags r:id="rId1"/>
    </p:custDataLst>
    <p:extLst>
      <p:ext uri="{BB962C8B-B14F-4D97-AF65-F5344CB8AC3E}">
        <p14:creationId xmlns:p14="http://schemas.microsoft.com/office/powerpoint/2010/main" val="6871218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_Inhalt">
    <p:spTree>
      <p:nvGrpSpPr>
        <p:cNvPr id="1" name=""/>
        <p:cNvGrpSpPr/>
        <p:nvPr/>
      </p:nvGrpSpPr>
      <p:grpSpPr>
        <a:xfrm>
          <a:off x="0" y="0"/>
          <a:ext cx="0" cy="0"/>
          <a:chOff x="0" y="0"/>
          <a:chExt cx="0" cy="0"/>
        </a:xfrm>
      </p:grpSpPr>
      <p:sp>
        <p:nvSpPr>
          <p:cNvPr id="4" name="Textplatzhalter 3"/>
          <p:cNvSpPr>
            <a:spLocks noGrp="1"/>
          </p:cNvSpPr>
          <p:nvPr>
            <p:ph type="body" sz="quarter" idx="10" hasCustomPrompt="1"/>
          </p:nvPr>
        </p:nvSpPr>
        <p:spPr>
          <a:xfrm>
            <a:off x="339548" y="206375"/>
            <a:ext cx="11512904" cy="184666"/>
          </a:xfrm>
        </p:spPr>
        <p:txBody>
          <a:bodyPr wrap="square" lIns="0" tIns="0" rIns="0" bIns="0" anchor="ctr">
            <a:spAutoFit/>
          </a:bodyPr>
          <a:lstStyle>
            <a:lvl1pPr marL="0" indent="0">
              <a:buFontTx/>
              <a:buNone/>
              <a:defRPr sz="1199" b="1">
                <a:solidFill>
                  <a:schemeClr val="tx2"/>
                </a:solidFill>
              </a:defRPr>
            </a:lvl1pPr>
          </a:lstStyle>
          <a:p>
            <a:pPr lvl="0"/>
            <a:r>
              <a:rPr lang="de-DE"/>
              <a:t>Inhaltsübersicht</a:t>
            </a:r>
          </a:p>
        </p:txBody>
      </p:sp>
      <p:sp>
        <p:nvSpPr>
          <p:cNvPr id="6" name="Inhaltsplatzhalter 5"/>
          <p:cNvSpPr>
            <a:spLocks noGrp="1"/>
          </p:cNvSpPr>
          <p:nvPr>
            <p:ph sz="quarter" idx="11"/>
          </p:nvPr>
        </p:nvSpPr>
        <p:spPr>
          <a:xfrm>
            <a:off x="339548" y="1701801"/>
            <a:ext cx="11512904" cy="4535489"/>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3" name="Titel 2"/>
          <p:cNvSpPr>
            <a:spLocks noGrp="1"/>
          </p:cNvSpPr>
          <p:nvPr>
            <p:ph type="title"/>
          </p:nvPr>
        </p:nvSpPr>
        <p:spPr>
          <a:xfrm>
            <a:off x="339548" y="730250"/>
            <a:ext cx="11512904" cy="369332"/>
          </a:xfrm>
        </p:spPr>
        <p:txBody>
          <a:bodyPr/>
          <a:lstStyle/>
          <a:p>
            <a:r>
              <a:rPr lang="de-DE"/>
              <a:t>Titelmasterformat durch Klicken bearbeiten</a:t>
            </a:r>
          </a:p>
        </p:txBody>
      </p:sp>
      <p:sp>
        <p:nvSpPr>
          <p:cNvPr id="7" name="Fußzeilenplatzhalter 1"/>
          <p:cNvSpPr>
            <a:spLocks noGrp="1"/>
          </p:cNvSpPr>
          <p:nvPr>
            <p:ph type="ftr" sz="quarter" idx="3"/>
          </p:nvPr>
        </p:nvSpPr>
        <p:spPr>
          <a:xfrm>
            <a:off x="930223" y="6509589"/>
            <a:ext cx="7644501" cy="169277"/>
          </a:xfrm>
          <a:prstGeom prst="rect">
            <a:avLst/>
          </a:prstGeom>
          <a:noFill/>
        </p:spPr>
        <p:txBody>
          <a:bodyPr wrap="square" lIns="0" tIns="0" rIns="0" bIns="0" rtlCol="0">
            <a:spAutoFit/>
          </a:bodyPr>
          <a:lstStyle>
            <a:lvl1pPr>
              <a:defRPr lang="de-DE" sz="1100">
                <a:solidFill>
                  <a:schemeClr val="tx1">
                    <a:lumMod val="75000"/>
                    <a:lumOff val="25000"/>
                  </a:schemeClr>
                </a:solidFill>
                <a:latin typeface="+mn-lt"/>
                <a:cs typeface="Arial" pitchFamily="34" charset="0"/>
              </a:defRPr>
            </a:lvl1pPr>
          </a:lstStyle>
          <a:p>
            <a:pPr>
              <a:tabLst>
                <a:tab pos="1256671" algn="l"/>
                <a:tab pos="2687880" algn="l"/>
              </a:tabLst>
            </a:pPr>
            <a:r>
              <a:rPr lang="en-US"/>
              <a:t>Transformationsplan Fernwärme</a:t>
            </a:r>
          </a:p>
        </p:txBody>
      </p:sp>
    </p:spTree>
    <p:custDataLst>
      <p:tags r:id="rId1"/>
    </p:custDataLst>
    <p:extLst>
      <p:ext uri="{BB962C8B-B14F-4D97-AF65-F5344CB8AC3E}">
        <p14:creationId xmlns:p14="http://schemas.microsoft.com/office/powerpoint/2010/main" val="7902353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809195B6-82EC-4CC1-9C9A-03BA515FC68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2" name="Objekt 11" hidden="1">
                        <a:extLst>
                          <a:ext uri="{FF2B5EF4-FFF2-40B4-BE49-F238E27FC236}">
                            <a16:creationId xmlns:a16="http://schemas.microsoft.com/office/drawing/2014/main" id="{809195B6-82EC-4CC1-9C9A-03BA515FC6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rafik 3">
            <a:extLst>
              <a:ext uri="{FF2B5EF4-FFF2-40B4-BE49-F238E27FC236}">
                <a16:creationId xmlns:a16="http://schemas.microsoft.com/office/drawing/2014/main" id="{03CF9A31-4698-495E-B827-D691946B02C4}"/>
              </a:ext>
            </a:extLst>
          </p:cNvPr>
          <p:cNvGrpSpPr/>
          <p:nvPr userDrawn="1"/>
        </p:nvGrpSpPr>
        <p:grpSpPr>
          <a:xfrm>
            <a:off x="-904890" y="4300327"/>
            <a:ext cx="3093694" cy="3127219"/>
            <a:chOff x="3142888" y="472711"/>
            <a:chExt cx="5897850" cy="5961761"/>
          </a:xfrm>
          <a:solidFill>
            <a:schemeClr val="accent1">
              <a:alpha val="10000"/>
            </a:schemeClr>
          </a:solidFill>
        </p:grpSpPr>
        <p:sp>
          <p:nvSpPr>
            <p:cNvPr id="8" name="Freihandform 4">
              <a:extLst>
                <a:ext uri="{FF2B5EF4-FFF2-40B4-BE49-F238E27FC236}">
                  <a16:creationId xmlns:a16="http://schemas.microsoft.com/office/drawing/2014/main" id="{DF743E0D-3125-46F1-8291-E106653C7C65}"/>
                </a:ext>
              </a:extLst>
            </p:cNvPr>
            <p:cNvSpPr/>
            <p:nvPr/>
          </p:nvSpPr>
          <p:spPr>
            <a:xfrm>
              <a:off x="3142888" y="1268839"/>
              <a:ext cx="2928059" cy="2929444"/>
            </a:xfrm>
            <a:custGeom>
              <a:avLst/>
              <a:gdLst>
                <a:gd name="connsiteX0" fmla="*/ 992302 w 2928059"/>
                <a:gd name="connsiteY0" fmla="*/ 53010 h 2929444"/>
                <a:gd name="connsiteX1" fmla="*/ 1167039 w 2928059"/>
                <a:gd name="connsiteY1" fmla="*/ 6172 h 2929444"/>
                <a:gd name="connsiteX2" fmla="*/ 2450168 w 2928059"/>
                <a:gd name="connsiteY2" fmla="*/ 350149 h 2929444"/>
                <a:gd name="connsiteX3" fmla="*/ 2578080 w 2928059"/>
                <a:gd name="connsiteY3" fmla="*/ 478121 h 2929444"/>
                <a:gd name="connsiteX4" fmla="*/ 2921894 w 2928059"/>
                <a:gd name="connsiteY4" fmla="*/ 1761856 h 2929444"/>
                <a:gd name="connsiteX5" fmla="*/ 2875069 w 2928059"/>
                <a:gd name="connsiteY5" fmla="*/ 1936666 h 2929444"/>
                <a:gd name="connsiteX6" fmla="*/ 1935754 w 2928059"/>
                <a:gd name="connsiteY6" fmla="*/ 2876434 h 2929444"/>
                <a:gd name="connsiteX7" fmla="*/ 1761027 w 2928059"/>
                <a:gd name="connsiteY7" fmla="*/ 2923272 h 2929444"/>
                <a:gd name="connsiteX8" fmla="*/ 477894 w 2928059"/>
                <a:gd name="connsiteY8" fmla="*/ 2579295 h 2929444"/>
                <a:gd name="connsiteX9" fmla="*/ 349982 w 2928059"/>
                <a:gd name="connsiteY9" fmla="*/ 2451323 h 2929444"/>
                <a:gd name="connsiteX10" fmla="*/ 6168 w 2928059"/>
                <a:gd name="connsiteY10" fmla="*/ 1167588 h 2929444"/>
                <a:gd name="connsiteX11" fmla="*/ 52987 w 2928059"/>
                <a:gd name="connsiteY11" fmla="*/ 992769 h 2929444"/>
                <a:gd name="connsiteX12" fmla="*/ 992302 w 2928059"/>
                <a:gd name="connsiteY12" fmla="*/ 53010 h 292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28059" h="2929444">
                  <a:moveTo>
                    <a:pt x="992302" y="53010"/>
                  </a:moveTo>
                  <a:cubicBezTo>
                    <a:pt x="1038005" y="7295"/>
                    <a:pt x="1104605" y="-10566"/>
                    <a:pt x="1167039" y="6172"/>
                  </a:cubicBezTo>
                  <a:lnTo>
                    <a:pt x="2450168" y="350149"/>
                  </a:lnTo>
                  <a:cubicBezTo>
                    <a:pt x="2512593" y="366878"/>
                    <a:pt x="2561349" y="415667"/>
                    <a:pt x="2578080" y="478121"/>
                  </a:cubicBezTo>
                  <a:lnTo>
                    <a:pt x="2921894" y="1761856"/>
                  </a:lnTo>
                  <a:cubicBezTo>
                    <a:pt x="2938616" y="1824310"/>
                    <a:pt x="2920772" y="1890951"/>
                    <a:pt x="2875069" y="1936666"/>
                  </a:cubicBezTo>
                  <a:lnTo>
                    <a:pt x="1935754" y="2876434"/>
                  </a:lnTo>
                  <a:cubicBezTo>
                    <a:pt x="1890061" y="2922149"/>
                    <a:pt x="1823451" y="2940011"/>
                    <a:pt x="1761027" y="2923272"/>
                  </a:cubicBezTo>
                  <a:lnTo>
                    <a:pt x="477894" y="2579295"/>
                  </a:lnTo>
                  <a:cubicBezTo>
                    <a:pt x="415468" y="2562556"/>
                    <a:pt x="366708" y="2513777"/>
                    <a:pt x="349982" y="2451323"/>
                  </a:cubicBezTo>
                  <a:lnTo>
                    <a:pt x="6168" y="1167588"/>
                  </a:lnTo>
                  <a:cubicBezTo>
                    <a:pt x="-10558" y="1105134"/>
                    <a:pt x="7288" y="1038493"/>
                    <a:pt x="52987" y="992769"/>
                  </a:cubicBezTo>
                  <a:lnTo>
                    <a:pt x="992302" y="53010"/>
                  </a:lnTo>
                  <a:close/>
                </a:path>
              </a:pathLst>
            </a:custGeom>
            <a:grpFill/>
            <a:ln w="9512" cap="flat">
              <a:noFill/>
              <a:prstDash val="solid"/>
              <a:miter/>
            </a:ln>
          </p:spPr>
          <p:txBody>
            <a:bodyPr rtlCol="0" anchor="ctr"/>
            <a:lstStyle/>
            <a:p>
              <a:endParaRPr lang="de-DE"/>
            </a:p>
          </p:txBody>
        </p:sp>
        <p:sp>
          <p:nvSpPr>
            <p:cNvPr id="9" name="Freihandform 5">
              <a:extLst>
                <a:ext uri="{FF2B5EF4-FFF2-40B4-BE49-F238E27FC236}">
                  <a16:creationId xmlns:a16="http://schemas.microsoft.com/office/drawing/2014/main" id="{2030A0D2-EC6A-4D44-83E3-33611C3E2886}"/>
                </a:ext>
              </a:extLst>
            </p:cNvPr>
            <p:cNvSpPr/>
            <p:nvPr/>
          </p:nvSpPr>
          <p:spPr>
            <a:xfrm>
              <a:off x="5492399" y="3505031"/>
              <a:ext cx="2928061" cy="2929441"/>
            </a:xfrm>
            <a:custGeom>
              <a:avLst/>
              <a:gdLst>
                <a:gd name="connsiteX0" fmla="*/ 992300 w 2928061"/>
                <a:gd name="connsiteY0" fmla="*/ 53016 h 2929441"/>
                <a:gd name="connsiteX1" fmla="*/ 1167037 w 2928061"/>
                <a:gd name="connsiteY1" fmla="*/ 6168 h 2929441"/>
                <a:gd name="connsiteX2" fmla="*/ 2450166 w 2928061"/>
                <a:gd name="connsiteY2" fmla="*/ 350145 h 2929441"/>
                <a:gd name="connsiteX3" fmla="*/ 2578078 w 2928061"/>
                <a:gd name="connsiteY3" fmla="*/ 478117 h 2929441"/>
                <a:gd name="connsiteX4" fmla="*/ 2921893 w 2928061"/>
                <a:gd name="connsiteY4" fmla="*/ 1761861 h 2929441"/>
                <a:gd name="connsiteX5" fmla="*/ 2875077 w 2928061"/>
                <a:gd name="connsiteY5" fmla="*/ 1936671 h 2929441"/>
                <a:gd name="connsiteX6" fmla="*/ 1935752 w 2928061"/>
                <a:gd name="connsiteY6" fmla="*/ 2876430 h 2929441"/>
                <a:gd name="connsiteX7" fmla="*/ 1761025 w 2928061"/>
                <a:gd name="connsiteY7" fmla="*/ 2923268 h 2929441"/>
                <a:gd name="connsiteX8" fmla="*/ 477896 w 2928061"/>
                <a:gd name="connsiteY8" fmla="*/ 2579300 h 2929441"/>
                <a:gd name="connsiteX9" fmla="*/ 349984 w 2928061"/>
                <a:gd name="connsiteY9" fmla="*/ 2451319 h 2929441"/>
                <a:gd name="connsiteX10" fmla="*/ 6169 w 2928061"/>
                <a:gd name="connsiteY10" fmla="*/ 1167584 h 2929441"/>
                <a:gd name="connsiteX11" fmla="*/ 52985 w 2928061"/>
                <a:gd name="connsiteY11" fmla="*/ 992774 h 2929441"/>
                <a:gd name="connsiteX12" fmla="*/ 992300 w 2928061"/>
                <a:gd name="connsiteY12" fmla="*/ 53016 h 292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28061" h="2929441">
                  <a:moveTo>
                    <a:pt x="992300" y="53016"/>
                  </a:moveTo>
                  <a:cubicBezTo>
                    <a:pt x="1038003" y="7291"/>
                    <a:pt x="1104613" y="-10561"/>
                    <a:pt x="1167037" y="6168"/>
                  </a:cubicBezTo>
                  <a:lnTo>
                    <a:pt x="2450166" y="350145"/>
                  </a:lnTo>
                  <a:cubicBezTo>
                    <a:pt x="2512591" y="366884"/>
                    <a:pt x="2561347" y="415663"/>
                    <a:pt x="2578078" y="478117"/>
                  </a:cubicBezTo>
                  <a:lnTo>
                    <a:pt x="2921893" y="1761861"/>
                  </a:lnTo>
                  <a:cubicBezTo>
                    <a:pt x="2938623" y="1824315"/>
                    <a:pt x="2920770" y="1890947"/>
                    <a:pt x="2875077" y="1936671"/>
                  </a:cubicBezTo>
                  <a:lnTo>
                    <a:pt x="1935752" y="2876430"/>
                  </a:lnTo>
                  <a:cubicBezTo>
                    <a:pt x="1890059" y="2922154"/>
                    <a:pt x="1823449" y="2940007"/>
                    <a:pt x="1761025" y="2923268"/>
                  </a:cubicBezTo>
                  <a:lnTo>
                    <a:pt x="477896" y="2579300"/>
                  </a:lnTo>
                  <a:cubicBezTo>
                    <a:pt x="415471" y="2562562"/>
                    <a:pt x="366705" y="2513782"/>
                    <a:pt x="349984" y="2451319"/>
                  </a:cubicBezTo>
                  <a:lnTo>
                    <a:pt x="6169" y="1167584"/>
                  </a:lnTo>
                  <a:cubicBezTo>
                    <a:pt x="-10561" y="1105130"/>
                    <a:pt x="7292" y="1038489"/>
                    <a:pt x="52985" y="992774"/>
                  </a:cubicBezTo>
                  <a:lnTo>
                    <a:pt x="992300" y="53016"/>
                  </a:lnTo>
                  <a:close/>
                </a:path>
              </a:pathLst>
            </a:custGeom>
            <a:grpFill/>
            <a:ln w="9512" cap="flat">
              <a:noFill/>
              <a:prstDash val="solid"/>
              <a:miter/>
            </a:ln>
          </p:spPr>
          <p:txBody>
            <a:bodyPr rtlCol="0" anchor="ctr"/>
            <a:lstStyle/>
            <a:p>
              <a:endParaRPr lang="de-DE"/>
            </a:p>
          </p:txBody>
        </p:sp>
        <p:sp>
          <p:nvSpPr>
            <p:cNvPr id="10" name="Freihandform 6">
              <a:extLst>
                <a:ext uri="{FF2B5EF4-FFF2-40B4-BE49-F238E27FC236}">
                  <a16:creationId xmlns:a16="http://schemas.microsoft.com/office/drawing/2014/main" id="{16D799D4-F25A-41FB-A67A-A111B0CBF3CC}"/>
                </a:ext>
              </a:extLst>
            </p:cNvPr>
            <p:cNvSpPr/>
            <p:nvPr/>
          </p:nvSpPr>
          <p:spPr>
            <a:xfrm>
              <a:off x="6112681" y="472711"/>
              <a:ext cx="2928057" cy="2929441"/>
            </a:xfrm>
            <a:custGeom>
              <a:avLst/>
              <a:gdLst>
                <a:gd name="connsiteX0" fmla="*/ 992305 w 2928057"/>
                <a:gd name="connsiteY0" fmla="*/ 53012 h 2929441"/>
                <a:gd name="connsiteX1" fmla="*/ 1167033 w 2928057"/>
                <a:gd name="connsiteY1" fmla="*/ 6171 h 2929441"/>
                <a:gd name="connsiteX2" fmla="*/ 2450162 w 2928057"/>
                <a:gd name="connsiteY2" fmla="*/ 350147 h 2929441"/>
                <a:gd name="connsiteX3" fmla="*/ 2578074 w 2928057"/>
                <a:gd name="connsiteY3" fmla="*/ 478120 h 2929441"/>
                <a:gd name="connsiteX4" fmla="*/ 2921889 w 2928057"/>
                <a:gd name="connsiteY4" fmla="*/ 1761852 h 2929441"/>
                <a:gd name="connsiteX5" fmla="*/ 2875073 w 2928057"/>
                <a:gd name="connsiteY5" fmla="*/ 1936671 h 2929441"/>
                <a:gd name="connsiteX6" fmla="*/ 1935758 w 2928057"/>
                <a:gd name="connsiteY6" fmla="*/ 2876430 h 2929441"/>
                <a:gd name="connsiteX7" fmla="*/ 1761021 w 2928057"/>
                <a:gd name="connsiteY7" fmla="*/ 2923268 h 2929441"/>
                <a:gd name="connsiteX8" fmla="*/ 477892 w 2928057"/>
                <a:gd name="connsiteY8" fmla="*/ 2579291 h 2929441"/>
                <a:gd name="connsiteX9" fmla="*/ 349980 w 2928057"/>
                <a:gd name="connsiteY9" fmla="*/ 2451319 h 2929441"/>
                <a:gd name="connsiteX10" fmla="*/ 6165 w 2928057"/>
                <a:gd name="connsiteY10" fmla="*/ 1167584 h 2929441"/>
                <a:gd name="connsiteX11" fmla="*/ 52981 w 2928057"/>
                <a:gd name="connsiteY11" fmla="*/ 992774 h 2929441"/>
                <a:gd name="connsiteX12" fmla="*/ 992305 w 2928057"/>
                <a:gd name="connsiteY12" fmla="*/ 53012 h 292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28057" h="2929441">
                  <a:moveTo>
                    <a:pt x="992305" y="53012"/>
                  </a:moveTo>
                  <a:cubicBezTo>
                    <a:pt x="1037999" y="7292"/>
                    <a:pt x="1104609" y="-10564"/>
                    <a:pt x="1167033" y="6171"/>
                  </a:cubicBezTo>
                  <a:lnTo>
                    <a:pt x="2450162" y="350147"/>
                  </a:lnTo>
                  <a:cubicBezTo>
                    <a:pt x="2512586" y="366882"/>
                    <a:pt x="2561352" y="415665"/>
                    <a:pt x="2578074" y="478120"/>
                  </a:cubicBezTo>
                  <a:lnTo>
                    <a:pt x="2921889" y="1761852"/>
                  </a:lnTo>
                  <a:cubicBezTo>
                    <a:pt x="2938619" y="1824315"/>
                    <a:pt x="2920766" y="1890947"/>
                    <a:pt x="2875073" y="1936671"/>
                  </a:cubicBezTo>
                  <a:lnTo>
                    <a:pt x="1935758" y="2876430"/>
                  </a:lnTo>
                  <a:cubicBezTo>
                    <a:pt x="1890055" y="2922154"/>
                    <a:pt x="1823445" y="2940006"/>
                    <a:pt x="1761021" y="2923268"/>
                  </a:cubicBezTo>
                  <a:lnTo>
                    <a:pt x="477892" y="2579291"/>
                  </a:lnTo>
                  <a:cubicBezTo>
                    <a:pt x="415467" y="2562562"/>
                    <a:pt x="366711" y="2513773"/>
                    <a:pt x="349980" y="2451319"/>
                  </a:cubicBezTo>
                  <a:lnTo>
                    <a:pt x="6165" y="1167584"/>
                  </a:lnTo>
                  <a:cubicBezTo>
                    <a:pt x="-10556" y="1105130"/>
                    <a:pt x="7288" y="1038489"/>
                    <a:pt x="52981" y="992774"/>
                  </a:cubicBezTo>
                  <a:lnTo>
                    <a:pt x="992305" y="53012"/>
                  </a:lnTo>
                  <a:close/>
                </a:path>
              </a:pathLst>
            </a:custGeom>
            <a:grpFill/>
            <a:ln w="9512" cap="flat">
              <a:noFill/>
              <a:prstDash val="solid"/>
              <a:miter/>
            </a:ln>
          </p:spPr>
          <p:txBody>
            <a:bodyPr rtlCol="0" anchor="ctr"/>
            <a:lstStyle/>
            <a:p>
              <a:endParaRPr lang="de-DE"/>
            </a:p>
          </p:txBody>
        </p:sp>
      </p:grpSp>
      <p:sp>
        <p:nvSpPr>
          <p:cNvPr id="2" name="Titel 1">
            <a:extLst>
              <a:ext uri="{FF2B5EF4-FFF2-40B4-BE49-F238E27FC236}">
                <a16:creationId xmlns:a16="http://schemas.microsoft.com/office/drawing/2014/main" id="{E7B6A54A-1AC7-4523-BAF6-F98948F268E8}"/>
              </a:ext>
            </a:extLst>
          </p:cNvPr>
          <p:cNvSpPr>
            <a:spLocks noGrp="1"/>
          </p:cNvSpPr>
          <p:nvPr>
            <p:ph type="title"/>
          </p:nvPr>
        </p:nvSpPr>
        <p:spPr/>
        <p:txBody>
          <a:bodyPr vert="horz"/>
          <a:lstStyle/>
          <a:p>
            <a:r>
              <a:rPr lang="de-DE"/>
              <a:t>Mastertitelformat bearbeiten</a:t>
            </a:r>
          </a:p>
        </p:txBody>
      </p:sp>
      <p:sp>
        <p:nvSpPr>
          <p:cNvPr id="3" name="Datumsplatzhalter 2">
            <a:extLst>
              <a:ext uri="{FF2B5EF4-FFF2-40B4-BE49-F238E27FC236}">
                <a16:creationId xmlns:a16="http://schemas.microsoft.com/office/drawing/2014/main" id="{E7BE4C45-ED5A-44B6-844E-6A222CF78FD1}"/>
              </a:ext>
            </a:extLst>
          </p:cNvPr>
          <p:cNvSpPr>
            <a:spLocks noGrp="1"/>
          </p:cNvSpPr>
          <p:nvPr>
            <p:ph type="dt" sz="half" idx="10"/>
          </p:nvPr>
        </p:nvSpPr>
        <p:spPr/>
        <p:txBody>
          <a:bodyPr/>
          <a:lstStyle/>
          <a:p>
            <a:r>
              <a:rPr lang="de-DE"/>
              <a:t>11.03.2024</a:t>
            </a:r>
          </a:p>
        </p:txBody>
      </p:sp>
      <p:sp>
        <p:nvSpPr>
          <p:cNvPr id="4" name="Fußzeilenplatzhalter 3">
            <a:extLst>
              <a:ext uri="{FF2B5EF4-FFF2-40B4-BE49-F238E27FC236}">
                <a16:creationId xmlns:a16="http://schemas.microsoft.com/office/drawing/2014/main" id="{54FFA492-0708-4A65-8CE7-DA9513276640}"/>
              </a:ext>
            </a:extLst>
          </p:cNvPr>
          <p:cNvSpPr>
            <a:spLocks noGrp="1"/>
          </p:cNvSpPr>
          <p:nvPr>
            <p:ph type="ftr" sz="quarter" idx="11"/>
          </p:nvPr>
        </p:nvSpPr>
        <p:spPr/>
        <p:txBody>
          <a:bodyPr/>
          <a:lstStyle/>
          <a:p>
            <a:r>
              <a:rPr lang="de-DE"/>
              <a:t>Transformationsplan Fernwärme</a:t>
            </a:r>
          </a:p>
        </p:txBody>
      </p:sp>
      <p:sp>
        <p:nvSpPr>
          <p:cNvPr id="5" name="Foliennummernplatzhalter 4">
            <a:extLst>
              <a:ext uri="{FF2B5EF4-FFF2-40B4-BE49-F238E27FC236}">
                <a16:creationId xmlns:a16="http://schemas.microsoft.com/office/drawing/2014/main" id="{4F48214F-0A5B-4AE4-BA43-EB484D851F2A}"/>
              </a:ext>
            </a:extLst>
          </p:cNvPr>
          <p:cNvSpPr>
            <a:spLocks noGrp="1"/>
          </p:cNvSpPr>
          <p:nvPr>
            <p:ph type="sldNum" sz="quarter" idx="12"/>
          </p:nvPr>
        </p:nvSpPr>
        <p:spPr/>
        <p:txBody>
          <a:bodyPr/>
          <a:lstStyle/>
          <a:p>
            <a:fld id="{B051F147-32F0-4A2C-8710-41A32CC688AA}" type="slidenum">
              <a:rPr lang="de-DE" smtClean="0"/>
              <a:t>‹Nr.›</a:t>
            </a:fld>
            <a:endParaRPr lang="de-DE"/>
          </a:p>
        </p:txBody>
      </p:sp>
      <p:sp>
        <p:nvSpPr>
          <p:cNvPr id="6" name="Textplatzhalter 9">
            <a:extLst>
              <a:ext uri="{FF2B5EF4-FFF2-40B4-BE49-F238E27FC236}">
                <a16:creationId xmlns:a16="http://schemas.microsoft.com/office/drawing/2014/main" id="{06C488E3-7669-494D-933F-F3A429E8DE10}"/>
              </a:ext>
            </a:extLst>
          </p:cNvPr>
          <p:cNvSpPr>
            <a:spLocks noGrp="1"/>
          </p:cNvSpPr>
          <p:nvPr>
            <p:ph type="body" sz="quarter" idx="13"/>
          </p:nvPr>
        </p:nvSpPr>
        <p:spPr>
          <a:xfrm>
            <a:off x="755650" y="910974"/>
            <a:ext cx="9684000" cy="684000"/>
          </a:xfrm>
        </p:spPr>
        <p:txBody>
          <a:bodyPr/>
          <a:lstStyle>
            <a:lvl1pPr>
              <a:lnSpc>
                <a:spcPct val="111000"/>
              </a:lnSpc>
              <a:spcAft>
                <a:spcPts val="0"/>
              </a:spcAft>
              <a:defRPr sz="2200" b="1">
                <a:solidFill>
                  <a:schemeClr val="accent1"/>
                </a:solidFill>
              </a:defRPr>
            </a:lvl1pPr>
            <a:lvl2pPr>
              <a:lnSpc>
                <a:spcPct val="111000"/>
              </a:lnSpc>
              <a:spcAft>
                <a:spcPts val="0"/>
              </a:spcAft>
              <a:defRPr sz="2200" b="1">
                <a:solidFill>
                  <a:schemeClr val="accent1"/>
                </a:solidFill>
              </a:defRPr>
            </a:lvl2pPr>
            <a:lvl3pPr>
              <a:lnSpc>
                <a:spcPct val="111000"/>
              </a:lnSpc>
              <a:defRPr sz="2200" b="1">
                <a:solidFill>
                  <a:schemeClr val="accent1"/>
                </a:solidFill>
              </a:defRPr>
            </a:lvl3pPr>
          </a:lstStyle>
          <a:p>
            <a:pPr lvl="0"/>
            <a:r>
              <a:rPr lang="de-DE"/>
              <a:t>Mastertextformat bearbeiten</a:t>
            </a:r>
          </a:p>
        </p:txBody>
      </p:sp>
    </p:spTree>
    <p:extLst>
      <p:ext uri="{BB962C8B-B14F-4D97-AF65-F5344CB8AC3E}">
        <p14:creationId xmlns:p14="http://schemas.microsoft.com/office/powerpoint/2010/main" val="1945971732"/>
      </p:ext>
    </p:extLst>
  </p:cSld>
  <p:clrMapOvr>
    <a:masterClrMapping/>
  </p:clrMapOvr>
  <p:extLst>
    <p:ext uri="{DCECCB84-F9BA-43D5-87BE-67443E8EF086}">
      <p15:sldGuideLst xmlns:p15="http://schemas.microsoft.com/office/powerpoint/2012/main">
        <p15:guide id="1" orient="horz" pos="104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el 8">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143555F8-C112-4E7F-8915-A9A87ECB854C}"/>
              </a:ext>
            </a:extLst>
          </p:cNvPr>
          <p:cNvSpPr>
            <a:spLocks noGrp="1"/>
          </p:cNvSpPr>
          <p:nvPr>
            <p:ph type="pic" sz="quarter" idx="10"/>
          </p:nvPr>
        </p:nvSpPr>
        <p:spPr>
          <a:xfrm>
            <a:off x="0" y="0"/>
            <a:ext cx="12192000" cy="6858000"/>
          </a:xfrm>
          <a:custGeom>
            <a:avLst/>
            <a:gdLst>
              <a:gd name="connsiteX0" fmla="*/ 0 w 12198350"/>
              <a:gd name="connsiteY0" fmla="*/ 0 h 7050088"/>
              <a:gd name="connsiteX1" fmla="*/ 12198350 w 12198350"/>
              <a:gd name="connsiteY1" fmla="*/ 0 h 7050088"/>
              <a:gd name="connsiteX2" fmla="*/ 12198350 w 12198350"/>
              <a:gd name="connsiteY2" fmla="*/ 362810 h 7050088"/>
              <a:gd name="connsiteX3" fmla="*/ 10369551 w 12198350"/>
              <a:gd name="connsiteY3" fmla="*/ 362810 h 7050088"/>
              <a:gd name="connsiteX4" fmla="*/ 10369551 w 12198350"/>
              <a:gd name="connsiteY4" fmla="*/ 982498 h 7050088"/>
              <a:gd name="connsiteX5" fmla="*/ 12198350 w 12198350"/>
              <a:gd name="connsiteY5" fmla="*/ 982498 h 7050088"/>
              <a:gd name="connsiteX6" fmla="*/ 12198350 w 12198350"/>
              <a:gd name="connsiteY6" fmla="*/ 7050088 h 7050088"/>
              <a:gd name="connsiteX7" fmla="*/ 0 w 12198350"/>
              <a:gd name="connsiteY7" fmla="*/ 7050088 h 70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7050088">
                <a:moveTo>
                  <a:pt x="0" y="0"/>
                </a:moveTo>
                <a:lnTo>
                  <a:pt x="12198350" y="0"/>
                </a:lnTo>
                <a:lnTo>
                  <a:pt x="12198350" y="362810"/>
                </a:lnTo>
                <a:lnTo>
                  <a:pt x="10369551" y="362810"/>
                </a:lnTo>
                <a:lnTo>
                  <a:pt x="10369551" y="982498"/>
                </a:lnTo>
                <a:lnTo>
                  <a:pt x="12198350" y="982498"/>
                </a:lnTo>
                <a:lnTo>
                  <a:pt x="12198350" y="7050088"/>
                </a:lnTo>
                <a:lnTo>
                  <a:pt x="0" y="7050088"/>
                </a:lnTo>
                <a:close/>
              </a:path>
            </a:pathLst>
          </a:custGeom>
          <a:solidFill>
            <a:schemeClr val="bg1">
              <a:lumMod val="85000"/>
            </a:schemeClr>
          </a:solidFill>
        </p:spPr>
        <p:txBody>
          <a:bodyPr wrap="square">
            <a:noAutofit/>
          </a:bodyPr>
          <a:lstStyle/>
          <a:p>
            <a:endParaRPr lang="de-DE"/>
          </a:p>
        </p:txBody>
      </p:sp>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147882388"/>
              </p:ext>
            </p:ext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2118" y="1590"/>
                        <a:ext cx="2116"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904402" y="1701801"/>
            <a:ext cx="10948049" cy="954087"/>
          </a:xfrm>
          <a:prstGeom prst="rect">
            <a:avLst/>
          </a:prstGeom>
        </p:spPr>
        <p:txBody>
          <a:bodyPr lIns="0" rIns="0" anchor="t">
            <a:noAutofit/>
          </a:bodyPr>
          <a:lstStyle>
            <a:lvl1pPr marL="1587" indent="0" algn="l">
              <a:defRPr sz="2799">
                <a:solidFill>
                  <a:schemeClr val="bg1"/>
                </a:solidFill>
              </a:defRPr>
            </a:lvl1pPr>
          </a:lstStyle>
          <a:p>
            <a:r>
              <a:rPr lang="de-DE"/>
              <a:t>Titelseite mit Bildplatzhalter, Arial, 28pt</a:t>
            </a:r>
            <a:br>
              <a:rPr lang="de-DE"/>
            </a:br>
            <a:r>
              <a:rPr lang="de-DE" b="1"/>
              <a:t>Hervorhebung Aussage</a:t>
            </a:r>
            <a:endParaRPr lang="de-DE"/>
          </a:p>
        </p:txBody>
      </p:sp>
      <p:sp>
        <p:nvSpPr>
          <p:cNvPr id="3" name="Untertitel 2"/>
          <p:cNvSpPr>
            <a:spLocks noGrp="1"/>
          </p:cNvSpPr>
          <p:nvPr>
            <p:ph type="subTitle" idx="1" hasCustomPrompt="1"/>
          </p:nvPr>
        </p:nvSpPr>
        <p:spPr bwMode="gray">
          <a:xfrm>
            <a:off x="904401" y="2660625"/>
            <a:ext cx="10948052" cy="642965"/>
          </a:xfrm>
        </p:spPr>
        <p:txBody>
          <a:bodyPr lIns="0" rIns="0" anchor="t" anchorCtr="0">
            <a:noAutofit/>
          </a:bodyPr>
          <a:lstStyle>
            <a:lvl1pPr marL="1587" indent="0" algn="l">
              <a:spcBef>
                <a:spcPts val="0"/>
              </a:spcBef>
              <a:spcAft>
                <a:spcPts val="0"/>
              </a:spcAft>
              <a:buNone/>
              <a:defRPr sz="1399">
                <a:solidFill>
                  <a:schemeClr val="bg1"/>
                </a:solidFill>
              </a:defRPr>
            </a:lvl1pPr>
            <a:lvl2pPr marL="456971" indent="0" algn="ctr">
              <a:buNone/>
              <a:defRPr>
                <a:solidFill>
                  <a:schemeClr val="tx1">
                    <a:tint val="7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r>
              <a:rPr lang="de-DE"/>
              <a:t>Name des Referenten</a:t>
            </a:r>
            <a:br>
              <a:rPr lang="de-DE"/>
            </a:br>
            <a:r>
              <a:rPr lang="de-DE"/>
              <a:t>00.00.0000 (Datum), Arial, 14pt</a:t>
            </a:r>
          </a:p>
        </p:txBody>
      </p:sp>
      <p:pic>
        <p:nvPicPr>
          <p:cNvPr id="8" name="Grafik 7">
            <a:extLst>
              <a:ext uri="{FF2B5EF4-FFF2-40B4-BE49-F238E27FC236}">
                <a16:creationId xmlns:a16="http://schemas.microsoft.com/office/drawing/2014/main" id="{3758A135-BC09-4B07-9C7B-838A33C3E0A0}"/>
              </a:ext>
            </a:extLst>
          </p:cNvPr>
          <p:cNvPicPr>
            <a:picLocks noChangeAspect="1"/>
          </p:cNvPicPr>
          <p:nvPr/>
        </p:nvPicPr>
        <p:blipFill>
          <a:blip r:embed="rId6"/>
          <a:stretch>
            <a:fillRect/>
          </a:stretch>
        </p:blipFill>
        <p:spPr>
          <a:xfrm>
            <a:off x="10364153" y="370724"/>
            <a:ext cx="1827846" cy="619687"/>
          </a:xfrm>
          <a:prstGeom prst="rect">
            <a:avLst/>
          </a:prstGeom>
        </p:spPr>
      </p:pic>
    </p:spTree>
    <p:custDataLst>
      <p:tags r:id="rId1"/>
    </p:custDataLst>
    <p:extLst>
      <p:ext uri="{BB962C8B-B14F-4D97-AF65-F5344CB8AC3E}">
        <p14:creationId xmlns:p14="http://schemas.microsoft.com/office/powerpoint/2010/main" val="184215443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Kapiteltrenn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39548" y="1701800"/>
            <a:ext cx="11512905" cy="922322"/>
          </a:xfrm>
          <a:prstGeom prst="rect">
            <a:avLst/>
          </a:prstGeom>
        </p:spPr>
        <p:txBody>
          <a:bodyPr lIns="0" tIns="0" rIns="0" bIns="0" anchor="t">
            <a:normAutofit/>
          </a:bodyPr>
          <a:lstStyle>
            <a:lvl1pPr marL="0" indent="0" algn="l">
              <a:defRPr sz="2799" b="1" cap="none" baseline="0"/>
            </a:lvl1pPr>
          </a:lstStyle>
          <a:p>
            <a:r>
              <a:rPr lang="de-DE"/>
              <a:t>Mastertitelformat bearbeiten</a:t>
            </a:r>
            <a:br>
              <a:rPr lang="de-DE"/>
            </a:br>
            <a:endParaRPr lang="de-DE"/>
          </a:p>
        </p:txBody>
      </p:sp>
      <p:sp>
        <p:nvSpPr>
          <p:cNvPr id="5" name="Datumsplatzhalter 4">
            <a:extLst>
              <a:ext uri="{FF2B5EF4-FFF2-40B4-BE49-F238E27FC236}">
                <a16:creationId xmlns:a16="http://schemas.microsoft.com/office/drawing/2014/main" id="{6B59BA34-D0D2-47AC-BEE2-382E865F6B10}"/>
              </a:ext>
            </a:extLst>
          </p:cNvPr>
          <p:cNvSpPr>
            <a:spLocks noGrp="1"/>
          </p:cNvSpPr>
          <p:nvPr>
            <p:ph type="dt" sz="half" idx="10"/>
          </p:nvPr>
        </p:nvSpPr>
        <p:spPr/>
        <p:txBody>
          <a:bodyPr/>
          <a:lstStyle/>
          <a:p>
            <a:fld id="{2F98F5B5-9BEF-48DA-8521-313512F6EDFA}" type="datetime1">
              <a:rPr lang="de-DE" smtClean="0"/>
              <a:t>19.03.2025</a:t>
            </a:fld>
            <a:endParaRPr lang="de-DE"/>
          </a:p>
        </p:txBody>
      </p:sp>
      <p:sp>
        <p:nvSpPr>
          <p:cNvPr id="6" name="Fußzeilenplatzhalter 5">
            <a:extLst>
              <a:ext uri="{FF2B5EF4-FFF2-40B4-BE49-F238E27FC236}">
                <a16:creationId xmlns:a16="http://schemas.microsoft.com/office/drawing/2014/main" id="{EE30FA72-857D-4DD9-8B3E-D82E34FDAA11}"/>
              </a:ext>
            </a:extLst>
          </p:cNvPr>
          <p:cNvSpPr>
            <a:spLocks noGrp="1"/>
          </p:cNvSpPr>
          <p:nvPr>
            <p:ph type="ftr" sz="quarter" idx="11"/>
          </p:nvPr>
        </p:nvSpPr>
        <p:spPr/>
        <p:txBody>
          <a:bodyPr/>
          <a:lstStyle/>
          <a:p>
            <a:r>
              <a:rPr lang="de-DE"/>
              <a:t>GF-Sitzung</a:t>
            </a:r>
          </a:p>
        </p:txBody>
      </p:sp>
      <p:sp>
        <p:nvSpPr>
          <p:cNvPr id="7" name="Foliennummernplatzhalter 6">
            <a:extLst>
              <a:ext uri="{FF2B5EF4-FFF2-40B4-BE49-F238E27FC236}">
                <a16:creationId xmlns:a16="http://schemas.microsoft.com/office/drawing/2014/main" id="{1F3B5AC2-C90B-4F46-B520-929FDDF132C3}"/>
              </a:ext>
            </a:extLst>
          </p:cNvPr>
          <p:cNvSpPr>
            <a:spLocks noGrp="1"/>
          </p:cNvSpPr>
          <p:nvPr>
            <p:ph type="sldNum" sz="quarter" idx="12"/>
          </p:nvPr>
        </p:nvSpPr>
        <p:spPr/>
        <p:txBody>
          <a:bodyPr/>
          <a:lstStyle/>
          <a:p>
            <a:fld id="{3DE26FC0-42C1-434A-9ADA-C98B70E99C00}" type="slidenum">
              <a:rPr lang="de-DE" smtClean="0"/>
              <a:t>‹Nr.›</a:t>
            </a:fld>
            <a:endParaRPr lang="de-DE"/>
          </a:p>
        </p:txBody>
      </p:sp>
    </p:spTree>
    <p:custDataLst>
      <p:tags r:id="rId1"/>
    </p:custDataLst>
    <p:extLst>
      <p:ext uri="{BB962C8B-B14F-4D97-AF65-F5344CB8AC3E}">
        <p14:creationId xmlns:p14="http://schemas.microsoft.com/office/powerpoint/2010/main" val="13669738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theme" Target="../theme/theme2.xml"/><Relationship Id="rId47" Type="http://schemas.openxmlformats.org/officeDocument/2006/relationships/image" Target="../media/image1.emf"/><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oleObject" Target="../embeddings/oleObject13.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slideLayout" Target="../slideLayouts/slideLayout53.xml"/><Relationship Id="rId41" Type="http://schemas.openxmlformats.org/officeDocument/2006/relationships/slideLayout" Target="../slideLayouts/slideLayout65.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tags" Target="../tags/tag42.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tags" Target="../tags/tag41.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tags" Target="../tags/tag40.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1.emf"/><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oleObject" Target="../embeddings/oleObject2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ags" Target="../tags/tag75.xml"/><Relationship Id="rId5" Type="http://schemas.openxmlformats.org/officeDocument/2006/relationships/slideLayout" Target="../slideLayouts/slideLayout70.xml"/><Relationship Id="rId10" Type="http://schemas.openxmlformats.org/officeDocument/2006/relationships/tags" Target="../tags/tag74.xml"/><Relationship Id="rId4" Type="http://schemas.openxmlformats.org/officeDocument/2006/relationships/slideLayout" Target="../slideLayouts/slideLayout69.xml"/><Relationship Id="rId9" Type="http://schemas.openxmlformats.org/officeDocument/2006/relationships/tags" Target="../tags/tag7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7"/>
            </p:custDataLst>
            <p:extLst>
              <p:ext uri="{D42A27DB-BD31-4B8C-83A1-F6EECF244321}">
                <p14:modId xmlns:p14="http://schemas.microsoft.com/office/powerpoint/2010/main" val="175708743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29" imgW="270" imgH="270" progId="TCLayout.ActiveDocument.1">
                  <p:embed/>
                </p:oleObj>
              </mc:Choice>
              <mc:Fallback>
                <p:oleObj name="think-cell Folie" r:id="rId29" imgW="270" imgH="270" progId="TCLayout.ActiveDocument.1">
                  <p:embed/>
                  <p:pic>
                    <p:nvPicPr>
                      <p:cNvPr id="2" name="Objekt 1" hidden="1"/>
                      <p:cNvPicPr/>
                      <p:nvPr/>
                    </p:nvPicPr>
                    <p:blipFill>
                      <a:blip r:embed="rId30"/>
                      <a:stretch>
                        <a:fillRect/>
                      </a:stretch>
                    </p:blipFill>
                    <p:spPr>
                      <a:xfrm>
                        <a:off x="1588" y="1589"/>
                        <a:ext cx="1586"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F6BD7FB-441C-4306-A8C6-B9B9214E8FAE}"/>
              </a:ext>
            </a:extLst>
          </p:cNvPr>
          <p:cNvSpPr/>
          <p:nvPr>
            <p:custDataLst>
              <p:tags r:id="rId28"/>
            </p:custDataLst>
          </p:nvPr>
        </p:nvSpPr>
        <p:spPr>
          <a:xfrm>
            <a:off x="0" y="0"/>
            <a:ext cx="158667" cy="1587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de-DE" sz="2399" b="0" i="0" baseline="0">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extplatzhalter 2"/>
          <p:cNvSpPr>
            <a:spLocks noGrp="1"/>
          </p:cNvSpPr>
          <p:nvPr>
            <p:ph type="body" idx="1"/>
          </p:nvPr>
        </p:nvSpPr>
        <p:spPr>
          <a:xfrm>
            <a:off x="339549" y="1701801"/>
            <a:ext cx="11512903" cy="4535489"/>
          </a:xfrm>
          <a:prstGeom prst="rect">
            <a:avLst/>
          </a:prstGeom>
        </p:spPr>
        <p:txBody>
          <a:bodyPr vert="horz" wrap="square"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itelplatzhalter 11"/>
          <p:cNvSpPr>
            <a:spLocks noGrp="1"/>
          </p:cNvSpPr>
          <p:nvPr>
            <p:ph type="title"/>
          </p:nvPr>
        </p:nvSpPr>
        <p:spPr>
          <a:xfrm>
            <a:off x="339548" y="730250"/>
            <a:ext cx="11512904" cy="369332"/>
          </a:xfrm>
          <a:prstGeom prst="rect">
            <a:avLst/>
          </a:prstGeom>
        </p:spPr>
        <p:txBody>
          <a:bodyPr vert="horz" wrap="square" lIns="0" tIns="0" rIns="0" bIns="0" rtlCol="0" anchor="t">
            <a:noAutofit/>
          </a:bodyPr>
          <a:lstStyle/>
          <a:p>
            <a:r>
              <a:rPr lang="de-DE"/>
              <a:t>Titelmasterformat durch Klicken bearbeiten</a:t>
            </a:r>
          </a:p>
        </p:txBody>
      </p:sp>
      <p:cxnSp>
        <p:nvCxnSpPr>
          <p:cNvPr id="5" name="Gerade Verbindung 4"/>
          <p:cNvCxnSpPr/>
          <p:nvPr/>
        </p:nvCxnSpPr>
        <p:spPr>
          <a:xfrm flipH="1">
            <a:off x="-568474" y="205581"/>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568474" y="7286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flipH="1">
            <a:off x="-568474" y="1698625"/>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a:off x="-568474" y="6237288"/>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flipH="1">
            <a:off x="-568474" y="66341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flipH="1">
            <a:off x="12397621" y="205581"/>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flipH="1">
            <a:off x="12397621" y="7286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flipH="1">
            <a:off x="12397621" y="1698625"/>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flipH="1">
            <a:off x="12397621" y="6237288"/>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flipH="1">
            <a:off x="12397621" y="66341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rot="5400000" flipH="1">
            <a:off x="214377"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rot="5400000" flipH="1">
            <a:off x="3916912"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H="1">
            <a:off x="5859994"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rot="5400000" flipH="1">
            <a:off x="6072718"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rot="5400000" flipH="1">
            <a:off x="11722279"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rot="5400000" flipH="1">
            <a:off x="214377"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rot="5400000" flipH="1">
            <a:off x="11722279"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rot="5400000" flipH="1">
            <a:off x="4131753"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a:xfrm rot="5400000" flipH="1">
            <a:off x="7818946"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a:xfrm rot="5400000" flipH="1">
            <a:off x="8033791"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a:xfrm rot="5400000" flipH="1">
            <a:off x="3916912"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a:xfrm rot="5400000" flipH="1">
            <a:off x="5859994"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rot="5400000" flipH="1">
            <a:off x="6072718"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rot="5400000" flipH="1">
            <a:off x="4131753"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rot="5400000" flipH="1">
            <a:off x="7818946"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rot="5400000" flipH="1">
            <a:off x="8033791"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2" name="Gruppieren 41"/>
          <p:cNvGrpSpPr/>
          <p:nvPr/>
        </p:nvGrpSpPr>
        <p:grpSpPr>
          <a:xfrm>
            <a:off x="11078154" y="6408739"/>
            <a:ext cx="774298" cy="265113"/>
            <a:chOff x="8015288" y="6408738"/>
            <a:chExt cx="774701" cy="265113"/>
          </a:xfrm>
        </p:grpSpPr>
        <p:sp>
          <p:nvSpPr>
            <p:cNvPr id="43" name="Freeform 6"/>
            <p:cNvSpPr>
              <a:spLocks/>
            </p:cNvSpPr>
            <p:nvPr userDrawn="1"/>
          </p:nvSpPr>
          <p:spPr bwMode="auto">
            <a:xfrm>
              <a:off x="8435976" y="6408738"/>
              <a:ext cx="190500" cy="265113"/>
            </a:xfrm>
            <a:custGeom>
              <a:avLst/>
              <a:gdLst>
                <a:gd name="T0" fmla="*/ 618 w 836"/>
                <a:gd name="T1" fmla="*/ 0 h 1167"/>
                <a:gd name="T2" fmla="*/ 836 w 836"/>
                <a:gd name="T3" fmla="*/ 0 h 1167"/>
                <a:gd name="T4" fmla="*/ 220 w 836"/>
                <a:gd name="T5" fmla="*/ 1167 h 1167"/>
                <a:gd name="T6" fmla="*/ 0 w 836"/>
                <a:gd name="T7" fmla="*/ 1167 h 1167"/>
                <a:gd name="T8" fmla="*/ 618 w 836"/>
                <a:gd name="T9" fmla="*/ 0 h 1167"/>
              </a:gdLst>
              <a:ahLst/>
              <a:cxnLst>
                <a:cxn ang="0">
                  <a:pos x="T0" y="T1"/>
                </a:cxn>
                <a:cxn ang="0">
                  <a:pos x="T2" y="T3"/>
                </a:cxn>
                <a:cxn ang="0">
                  <a:pos x="T4" y="T5"/>
                </a:cxn>
                <a:cxn ang="0">
                  <a:pos x="T6" y="T7"/>
                </a:cxn>
                <a:cxn ang="0">
                  <a:pos x="T8" y="T9"/>
                </a:cxn>
              </a:cxnLst>
              <a:rect l="0" t="0" r="r" b="b"/>
              <a:pathLst>
                <a:path w="836" h="1167">
                  <a:moveTo>
                    <a:pt x="618" y="0"/>
                  </a:moveTo>
                  <a:lnTo>
                    <a:pt x="836" y="0"/>
                  </a:lnTo>
                  <a:lnTo>
                    <a:pt x="220" y="1167"/>
                  </a:lnTo>
                  <a:lnTo>
                    <a:pt x="0" y="1167"/>
                  </a:lnTo>
                  <a:lnTo>
                    <a:pt x="6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5" name="Freeform 7"/>
            <p:cNvSpPr>
              <a:spLocks/>
            </p:cNvSpPr>
            <p:nvPr userDrawn="1"/>
          </p:nvSpPr>
          <p:spPr bwMode="auto">
            <a:xfrm>
              <a:off x="8355013" y="6408738"/>
              <a:ext cx="188913" cy="265113"/>
            </a:xfrm>
            <a:custGeom>
              <a:avLst/>
              <a:gdLst>
                <a:gd name="T0" fmla="*/ 618 w 837"/>
                <a:gd name="T1" fmla="*/ 0 h 1167"/>
                <a:gd name="T2" fmla="*/ 837 w 837"/>
                <a:gd name="T3" fmla="*/ 0 h 1167"/>
                <a:gd name="T4" fmla="*/ 219 w 837"/>
                <a:gd name="T5" fmla="*/ 1167 h 1167"/>
                <a:gd name="T6" fmla="*/ 0 w 837"/>
                <a:gd name="T7" fmla="*/ 1167 h 1167"/>
                <a:gd name="T8" fmla="*/ 618 w 837"/>
                <a:gd name="T9" fmla="*/ 0 h 1167"/>
              </a:gdLst>
              <a:ahLst/>
              <a:cxnLst>
                <a:cxn ang="0">
                  <a:pos x="T0" y="T1"/>
                </a:cxn>
                <a:cxn ang="0">
                  <a:pos x="T2" y="T3"/>
                </a:cxn>
                <a:cxn ang="0">
                  <a:pos x="T4" y="T5"/>
                </a:cxn>
                <a:cxn ang="0">
                  <a:pos x="T6" y="T7"/>
                </a:cxn>
                <a:cxn ang="0">
                  <a:pos x="T8" y="T9"/>
                </a:cxn>
              </a:cxnLst>
              <a:rect l="0" t="0" r="r" b="b"/>
              <a:pathLst>
                <a:path w="837" h="1167">
                  <a:moveTo>
                    <a:pt x="618" y="0"/>
                  </a:moveTo>
                  <a:lnTo>
                    <a:pt x="837" y="0"/>
                  </a:lnTo>
                  <a:lnTo>
                    <a:pt x="219" y="1167"/>
                  </a:lnTo>
                  <a:lnTo>
                    <a:pt x="0" y="1167"/>
                  </a:lnTo>
                  <a:lnTo>
                    <a:pt x="6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6" name="Freeform 8"/>
            <p:cNvSpPr>
              <a:spLocks/>
            </p:cNvSpPr>
            <p:nvPr userDrawn="1"/>
          </p:nvSpPr>
          <p:spPr bwMode="auto">
            <a:xfrm>
              <a:off x="8193088" y="6450013"/>
              <a:ext cx="247650" cy="182563"/>
            </a:xfrm>
            <a:custGeom>
              <a:avLst/>
              <a:gdLst>
                <a:gd name="T0" fmla="*/ 0 w 1098"/>
                <a:gd name="T1" fmla="*/ 0 h 809"/>
                <a:gd name="T2" fmla="*/ 200 w 1098"/>
                <a:gd name="T3" fmla="*/ 0 h 809"/>
                <a:gd name="T4" fmla="*/ 200 w 1098"/>
                <a:gd name="T5" fmla="*/ 431 h 809"/>
                <a:gd name="T6" fmla="*/ 446 w 1098"/>
                <a:gd name="T7" fmla="*/ 0 h 809"/>
                <a:gd name="T8" fmla="*/ 664 w 1098"/>
                <a:gd name="T9" fmla="*/ 0 h 809"/>
                <a:gd name="T10" fmla="*/ 664 w 1098"/>
                <a:gd name="T11" fmla="*/ 439 h 809"/>
                <a:gd name="T12" fmla="*/ 905 w 1098"/>
                <a:gd name="T13" fmla="*/ 0 h 809"/>
                <a:gd name="T14" fmla="*/ 1098 w 1098"/>
                <a:gd name="T15" fmla="*/ 0 h 809"/>
                <a:gd name="T16" fmla="*/ 667 w 1098"/>
                <a:gd name="T17" fmla="*/ 809 h 809"/>
                <a:gd name="T18" fmla="*/ 460 w 1098"/>
                <a:gd name="T19" fmla="*/ 809 h 809"/>
                <a:gd name="T20" fmla="*/ 460 w 1098"/>
                <a:gd name="T21" fmla="*/ 342 h 809"/>
                <a:gd name="T22" fmla="*/ 200 w 1098"/>
                <a:gd name="T23" fmla="*/ 809 h 809"/>
                <a:gd name="T24" fmla="*/ 0 w 1098"/>
                <a:gd name="T25" fmla="*/ 809 h 809"/>
                <a:gd name="T26" fmla="*/ 0 w 1098"/>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8" h="809">
                  <a:moveTo>
                    <a:pt x="0" y="0"/>
                  </a:moveTo>
                  <a:lnTo>
                    <a:pt x="200" y="0"/>
                  </a:lnTo>
                  <a:lnTo>
                    <a:pt x="200" y="431"/>
                  </a:lnTo>
                  <a:lnTo>
                    <a:pt x="446" y="0"/>
                  </a:lnTo>
                  <a:lnTo>
                    <a:pt x="664" y="0"/>
                  </a:lnTo>
                  <a:lnTo>
                    <a:pt x="664" y="439"/>
                  </a:lnTo>
                  <a:lnTo>
                    <a:pt x="905" y="0"/>
                  </a:lnTo>
                  <a:lnTo>
                    <a:pt x="1098" y="0"/>
                  </a:lnTo>
                  <a:lnTo>
                    <a:pt x="667" y="809"/>
                  </a:lnTo>
                  <a:lnTo>
                    <a:pt x="460" y="809"/>
                  </a:lnTo>
                  <a:lnTo>
                    <a:pt x="460" y="342"/>
                  </a:lnTo>
                  <a:lnTo>
                    <a:pt x="200" y="809"/>
                  </a:lnTo>
                  <a:lnTo>
                    <a:pt x="0" y="809"/>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7" name="Freeform 9"/>
            <p:cNvSpPr>
              <a:spLocks/>
            </p:cNvSpPr>
            <p:nvPr userDrawn="1"/>
          </p:nvSpPr>
          <p:spPr bwMode="auto">
            <a:xfrm>
              <a:off x="8540751" y="6450013"/>
              <a:ext cx="249238" cy="182563"/>
            </a:xfrm>
            <a:custGeom>
              <a:avLst/>
              <a:gdLst>
                <a:gd name="T0" fmla="*/ 428 w 1100"/>
                <a:gd name="T1" fmla="*/ 0 h 809"/>
                <a:gd name="T2" fmla="*/ 642 w 1100"/>
                <a:gd name="T3" fmla="*/ 0 h 809"/>
                <a:gd name="T4" fmla="*/ 642 w 1100"/>
                <a:gd name="T5" fmla="*/ 467 h 809"/>
                <a:gd name="T6" fmla="*/ 897 w 1100"/>
                <a:gd name="T7" fmla="*/ 0 h 809"/>
                <a:gd name="T8" fmla="*/ 1100 w 1100"/>
                <a:gd name="T9" fmla="*/ 0 h 809"/>
                <a:gd name="T10" fmla="*/ 1100 w 1100"/>
                <a:gd name="T11" fmla="*/ 809 h 809"/>
                <a:gd name="T12" fmla="*/ 897 w 1100"/>
                <a:gd name="T13" fmla="*/ 809 h 809"/>
                <a:gd name="T14" fmla="*/ 897 w 1100"/>
                <a:gd name="T15" fmla="*/ 378 h 809"/>
                <a:gd name="T16" fmla="*/ 642 w 1100"/>
                <a:gd name="T17" fmla="*/ 809 h 809"/>
                <a:gd name="T18" fmla="*/ 433 w 1100"/>
                <a:gd name="T19" fmla="*/ 809 h 809"/>
                <a:gd name="T20" fmla="*/ 433 w 1100"/>
                <a:gd name="T21" fmla="*/ 376 h 809"/>
                <a:gd name="T22" fmla="*/ 194 w 1100"/>
                <a:gd name="T23" fmla="*/ 809 h 809"/>
                <a:gd name="T24" fmla="*/ 0 w 1100"/>
                <a:gd name="T25" fmla="*/ 809 h 809"/>
                <a:gd name="T26" fmla="*/ 428 w 1100"/>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0" h="809">
                  <a:moveTo>
                    <a:pt x="428" y="0"/>
                  </a:moveTo>
                  <a:lnTo>
                    <a:pt x="642" y="0"/>
                  </a:lnTo>
                  <a:lnTo>
                    <a:pt x="642" y="467"/>
                  </a:lnTo>
                  <a:lnTo>
                    <a:pt x="897" y="0"/>
                  </a:lnTo>
                  <a:lnTo>
                    <a:pt x="1100" y="0"/>
                  </a:lnTo>
                  <a:lnTo>
                    <a:pt x="1100" y="809"/>
                  </a:lnTo>
                  <a:lnTo>
                    <a:pt x="897" y="809"/>
                  </a:lnTo>
                  <a:lnTo>
                    <a:pt x="897" y="378"/>
                  </a:lnTo>
                  <a:lnTo>
                    <a:pt x="642" y="809"/>
                  </a:lnTo>
                  <a:lnTo>
                    <a:pt x="433" y="809"/>
                  </a:lnTo>
                  <a:lnTo>
                    <a:pt x="433" y="376"/>
                  </a:lnTo>
                  <a:lnTo>
                    <a:pt x="194" y="809"/>
                  </a:lnTo>
                  <a:lnTo>
                    <a:pt x="0" y="809"/>
                  </a:lnTo>
                  <a:lnTo>
                    <a:pt x="42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8" name="Freeform 10"/>
            <p:cNvSpPr>
              <a:spLocks/>
            </p:cNvSpPr>
            <p:nvPr userDrawn="1"/>
          </p:nvSpPr>
          <p:spPr bwMode="auto">
            <a:xfrm>
              <a:off x="8015288" y="6442075"/>
              <a:ext cx="155575" cy="195263"/>
            </a:xfrm>
            <a:custGeom>
              <a:avLst/>
              <a:gdLst>
                <a:gd name="T0" fmla="*/ 432 w 688"/>
                <a:gd name="T1" fmla="*/ 8 h 862"/>
                <a:gd name="T2" fmla="*/ 542 w 688"/>
                <a:gd name="T3" fmla="*/ 51 h 862"/>
                <a:gd name="T4" fmla="*/ 623 w 688"/>
                <a:gd name="T5" fmla="*/ 122 h 862"/>
                <a:gd name="T6" fmla="*/ 665 w 688"/>
                <a:gd name="T7" fmla="*/ 214 h 862"/>
                <a:gd name="T8" fmla="*/ 459 w 688"/>
                <a:gd name="T9" fmla="*/ 271 h 862"/>
                <a:gd name="T10" fmla="*/ 447 w 688"/>
                <a:gd name="T11" fmla="*/ 218 h 862"/>
                <a:gd name="T12" fmla="*/ 396 w 688"/>
                <a:gd name="T13" fmla="*/ 181 h 862"/>
                <a:gd name="T14" fmla="*/ 333 w 688"/>
                <a:gd name="T15" fmla="*/ 173 h 862"/>
                <a:gd name="T16" fmla="*/ 271 w 688"/>
                <a:gd name="T17" fmla="*/ 186 h 862"/>
                <a:gd name="T18" fmla="*/ 237 w 688"/>
                <a:gd name="T19" fmla="*/ 217 h 862"/>
                <a:gd name="T20" fmla="*/ 238 w 688"/>
                <a:gd name="T21" fmla="*/ 256 h 862"/>
                <a:gd name="T22" fmla="*/ 284 w 688"/>
                <a:gd name="T23" fmla="*/ 295 h 862"/>
                <a:gd name="T24" fmla="*/ 332 w 688"/>
                <a:gd name="T25" fmla="*/ 313 h 862"/>
                <a:gd name="T26" fmla="*/ 388 w 688"/>
                <a:gd name="T27" fmla="*/ 329 h 862"/>
                <a:gd name="T28" fmla="*/ 444 w 688"/>
                <a:gd name="T29" fmla="*/ 346 h 862"/>
                <a:gd name="T30" fmla="*/ 498 w 688"/>
                <a:gd name="T31" fmla="*/ 365 h 862"/>
                <a:gd name="T32" fmla="*/ 544 w 688"/>
                <a:gd name="T33" fmla="*/ 384 h 862"/>
                <a:gd name="T34" fmla="*/ 566 w 688"/>
                <a:gd name="T35" fmla="*/ 394 h 862"/>
                <a:gd name="T36" fmla="*/ 643 w 688"/>
                <a:gd name="T37" fmla="*/ 453 h 862"/>
                <a:gd name="T38" fmla="*/ 685 w 688"/>
                <a:gd name="T39" fmla="*/ 537 h 862"/>
                <a:gd name="T40" fmla="*/ 684 w 688"/>
                <a:gd name="T41" fmla="*/ 646 h 862"/>
                <a:gd name="T42" fmla="*/ 643 w 688"/>
                <a:gd name="T43" fmla="*/ 744 h 862"/>
                <a:gd name="T44" fmla="*/ 562 w 688"/>
                <a:gd name="T45" fmla="*/ 814 h 862"/>
                <a:gd name="T46" fmla="*/ 443 w 688"/>
                <a:gd name="T47" fmla="*/ 854 h 862"/>
                <a:gd name="T48" fmla="*/ 293 w 688"/>
                <a:gd name="T49" fmla="*/ 859 h 862"/>
                <a:gd name="T50" fmla="*/ 165 w 688"/>
                <a:gd name="T51" fmla="*/ 831 h 862"/>
                <a:gd name="T52" fmla="*/ 73 w 688"/>
                <a:gd name="T53" fmla="*/ 772 h 862"/>
                <a:gd name="T54" fmla="*/ 19 w 688"/>
                <a:gd name="T55" fmla="*/ 683 h 862"/>
                <a:gd name="T56" fmla="*/ 0 w 688"/>
                <a:gd name="T57" fmla="*/ 566 h 862"/>
                <a:gd name="T58" fmla="*/ 219 w 688"/>
                <a:gd name="T59" fmla="*/ 620 h 862"/>
                <a:gd name="T60" fmla="*/ 268 w 688"/>
                <a:gd name="T61" fmla="*/ 681 h 862"/>
                <a:gd name="T62" fmla="*/ 344 w 688"/>
                <a:gd name="T63" fmla="*/ 703 h 862"/>
                <a:gd name="T64" fmla="*/ 420 w 688"/>
                <a:gd name="T65" fmla="*/ 689 h 862"/>
                <a:gd name="T66" fmla="*/ 469 w 688"/>
                <a:gd name="T67" fmla="*/ 651 h 862"/>
                <a:gd name="T68" fmla="*/ 479 w 688"/>
                <a:gd name="T69" fmla="*/ 604 h 862"/>
                <a:gd name="T70" fmla="*/ 460 w 688"/>
                <a:gd name="T71" fmla="*/ 567 h 862"/>
                <a:gd name="T72" fmla="*/ 403 w 688"/>
                <a:gd name="T73" fmla="*/ 539 h 862"/>
                <a:gd name="T74" fmla="*/ 383 w 688"/>
                <a:gd name="T75" fmla="*/ 532 h 862"/>
                <a:gd name="T76" fmla="*/ 342 w 688"/>
                <a:gd name="T77" fmla="*/ 519 h 862"/>
                <a:gd name="T78" fmla="*/ 285 w 688"/>
                <a:gd name="T79" fmla="*/ 503 h 862"/>
                <a:gd name="T80" fmla="*/ 220 w 688"/>
                <a:gd name="T81" fmla="*/ 484 h 862"/>
                <a:gd name="T82" fmla="*/ 171 w 688"/>
                <a:gd name="T83" fmla="*/ 464 h 862"/>
                <a:gd name="T84" fmla="*/ 89 w 688"/>
                <a:gd name="T85" fmla="*/ 409 h 862"/>
                <a:gd name="T86" fmla="*/ 34 w 688"/>
                <a:gd name="T87" fmla="*/ 318 h 862"/>
                <a:gd name="T88" fmla="*/ 28 w 688"/>
                <a:gd name="T89" fmla="*/ 213 h 862"/>
                <a:gd name="T90" fmla="*/ 67 w 688"/>
                <a:gd name="T91" fmla="*/ 121 h 862"/>
                <a:gd name="T92" fmla="*/ 149 w 688"/>
                <a:gd name="T93" fmla="*/ 50 h 862"/>
                <a:gd name="T94" fmla="*/ 261 w 688"/>
                <a:gd name="T95" fmla="*/ 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8" h="862">
                  <a:moveTo>
                    <a:pt x="347" y="0"/>
                  </a:moveTo>
                  <a:lnTo>
                    <a:pt x="390" y="2"/>
                  </a:lnTo>
                  <a:lnTo>
                    <a:pt x="432" y="8"/>
                  </a:lnTo>
                  <a:lnTo>
                    <a:pt x="471" y="19"/>
                  </a:lnTo>
                  <a:lnTo>
                    <a:pt x="508" y="34"/>
                  </a:lnTo>
                  <a:lnTo>
                    <a:pt x="542" y="51"/>
                  </a:lnTo>
                  <a:lnTo>
                    <a:pt x="573" y="73"/>
                  </a:lnTo>
                  <a:lnTo>
                    <a:pt x="600" y="97"/>
                  </a:lnTo>
                  <a:lnTo>
                    <a:pt x="623" y="122"/>
                  </a:lnTo>
                  <a:lnTo>
                    <a:pt x="642" y="151"/>
                  </a:lnTo>
                  <a:lnTo>
                    <a:pt x="655" y="182"/>
                  </a:lnTo>
                  <a:lnTo>
                    <a:pt x="665" y="214"/>
                  </a:lnTo>
                  <a:lnTo>
                    <a:pt x="667" y="248"/>
                  </a:lnTo>
                  <a:lnTo>
                    <a:pt x="667" y="271"/>
                  </a:lnTo>
                  <a:lnTo>
                    <a:pt x="459" y="271"/>
                  </a:lnTo>
                  <a:lnTo>
                    <a:pt x="459" y="255"/>
                  </a:lnTo>
                  <a:lnTo>
                    <a:pt x="455" y="235"/>
                  </a:lnTo>
                  <a:lnTo>
                    <a:pt x="447" y="218"/>
                  </a:lnTo>
                  <a:lnTo>
                    <a:pt x="434" y="203"/>
                  </a:lnTo>
                  <a:lnTo>
                    <a:pt x="417" y="190"/>
                  </a:lnTo>
                  <a:lnTo>
                    <a:pt x="396" y="181"/>
                  </a:lnTo>
                  <a:lnTo>
                    <a:pt x="373" y="174"/>
                  </a:lnTo>
                  <a:lnTo>
                    <a:pt x="347" y="172"/>
                  </a:lnTo>
                  <a:lnTo>
                    <a:pt x="333" y="173"/>
                  </a:lnTo>
                  <a:lnTo>
                    <a:pt x="311" y="174"/>
                  </a:lnTo>
                  <a:lnTo>
                    <a:pt x="290" y="178"/>
                  </a:lnTo>
                  <a:lnTo>
                    <a:pt x="271" y="186"/>
                  </a:lnTo>
                  <a:lnTo>
                    <a:pt x="257" y="195"/>
                  </a:lnTo>
                  <a:lnTo>
                    <a:pt x="245" y="205"/>
                  </a:lnTo>
                  <a:lnTo>
                    <a:pt x="237" y="217"/>
                  </a:lnTo>
                  <a:lnTo>
                    <a:pt x="235" y="230"/>
                  </a:lnTo>
                  <a:lnTo>
                    <a:pt x="235" y="239"/>
                  </a:lnTo>
                  <a:lnTo>
                    <a:pt x="238" y="256"/>
                  </a:lnTo>
                  <a:lnTo>
                    <a:pt x="248" y="271"/>
                  </a:lnTo>
                  <a:lnTo>
                    <a:pt x="263" y="284"/>
                  </a:lnTo>
                  <a:lnTo>
                    <a:pt x="284" y="295"/>
                  </a:lnTo>
                  <a:lnTo>
                    <a:pt x="301" y="302"/>
                  </a:lnTo>
                  <a:lnTo>
                    <a:pt x="318" y="309"/>
                  </a:lnTo>
                  <a:lnTo>
                    <a:pt x="332" y="313"/>
                  </a:lnTo>
                  <a:lnTo>
                    <a:pt x="349" y="318"/>
                  </a:lnTo>
                  <a:lnTo>
                    <a:pt x="367" y="324"/>
                  </a:lnTo>
                  <a:lnTo>
                    <a:pt x="388" y="329"/>
                  </a:lnTo>
                  <a:lnTo>
                    <a:pt x="408" y="334"/>
                  </a:lnTo>
                  <a:lnTo>
                    <a:pt x="425" y="340"/>
                  </a:lnTo>
                  <a:lnTo>
                    <a:pt x="444" y="346"/>
                  </a:lnTo>
                  <a:lnTo>
                    <a:pt x="465" y="353"/>
                  </a:lnTo>
                  <a:lnTo>
                    <a:pt x="480" y="359"/>
                  </a:lnTo>
                  <a:lnTo>
                    <a:pt x="498" y="365"/>
                  </a:lnTo>
                  <a:lnTo>
                    <a:pt x="514" y="372"/>
                  </a:lnTo>
                  <a:lnTo>
                    <a:pt x="530" y="379"/>
                  </a:lnTo>
                  <a:lnTo>
                    <a:pt x="544" y="384"/>
                  </a:lnTo>
                  <a:lnTo>
                    <a:pt x="556" y="389"/>
                  </a:lnTo>
                  <a:lnTo>
                    <a:pt x="563" y="391"/>
                  </a:lnTo>
                  <a:lnTo>
                    <a:pt x="566" y="394"/>
                  </a:lnTo>
                  <a:lnTo>
                    <a:pt x="594" y="409"/>
                  </a:lnTo>
                  <a:lnTo>
                    <a:pt x="620" y="429"/>
                  </a:lnTo>
                  <a:lnTo>
                    <a:pt x="643" y="453"/>
                  </a:lnTo>
                  <a:lnTo>
                    <a:pt x="662" y="479"/>
                  </a:lnTo>
                  <a:lnTo>
                    <a:pt x="676" y="508"/>
                  </a:lnTo>
                  <a:lnTo>
                    <a:pt x="685" y="537"/>
                  </a:lnTo>
                  <a:lnTo>
                    <a:pt x="688" y="567"/>
                  </a:lnTo>
                  <a:lnTo>
                    <a:pt x="688" y="608"/>
                  </a:lnTo>
                  <a:lnTo>
                    <a:pt x="684" y="646"/>
                  </a:lnTo>
                  <a:lnTo>
                    <a:pt x="675" y="682"/>
                  </a:lnTo>
                  <a:lnTo>
                    <a:pt x="661" y="714"/>
                  </a:lnTo>
                  <a:lnTo>
                    <a:pt x="643" y="744"/>
                  </a:lnTo>
                  <a:lnTo>
                    <a:pt x="620" y="771"/>
                  </a:lnTo>
                  <a:lnTo>
                    <a:pt x="593" y="794"/>
                  </a:lnTo>
                  <a:lnTo>
                    <a:pt x="562" y="814"/>
                  </a:lnTo>
                  <a:lnTo>
                    <a:pt x="527" y="831"/>
                  </a:lnTo>
                  <a:lnTo>
                    <a:pt x="488" y="844"/>
                  </a:lnTo>
                  <a:lnTo>
                    <a:pt x="443" y="854"/>
                  </a:lnTo>
                  <a:lnTo>
                    <a:pt x="396" y="859"/>
                  </a:lnTo>
                  <a:lnTo>
                    <a:pt x="345" y="862"/>
                  </a:lnTo>
                  <a:lnTo>
                    <a:pt x="293" y="859"/>
                  </a:lnTo>
                  <a:lnTo>
                    <a:pt x="246" y="854"/>
                  </a:lnTo>
                  <a:lnTo>
                    <a:pt x="203" y="844"/>
                  </a:lnTo>
                  <a:lnTo>
                    <a:pt x="165" y="831"/>
                  </a:lnTo>
                  <a:lnTo>
                    <a:pt x="130" y="815"/>
                  </a:lnTo>
                  <a:lnTo>
                    <a:pt x="99" y="795"/>
                  </a:lnTo>
                  <a:lnTo>
                    <a:pt x="73" y="772"/>
                  </a:lnTo>
                  <a:lnTo>
                    <a:pt x="51" y="745"/>
                  </a:lnTo>
                  <a:lnTo>
                    <a:pt x="32" y="715"/>
                  </a:lnTo>
                  <a:lnTo>
                    <a:pt x="19" y="683"/>
                  </a:lnTo>
                  <a:lnTo>
                    <a:pt x="8" y="646"/>
                  </a:lnTo>
                  <a:lnTo>
                    <a:pt x="2" y="608"/>
                  </a:lnTo>
                  <a:lnTo>
                    <a:pt x="0" y="566"/>
                  </a:lnTo>
                  <a:lnTo>
                    <a:pt x="208" y="566"/>
                  </a:lnTo>
                  <a:lnTo>
                    <a:pt x="211" y="594"/>
                  </a:lnTo>
                  <a:lnTo>
                    <a:pt x="219" y="620"/>
                  </a:lnTo>
                  <a:lnTo>
                    <a:pt x="232" y="643"/>
                  </a:lnTo>
                  <a:lnTo>
                    <a:pt x="248" y="664"/>
                  </a:lnTo>
                  <a:lnTo>
                    <a:pt x="268" y="681"/>
                  </a:lnTo>
                  <a:lnTo>
                    <a:pt x="292" y="693"/>
                  </a:lnTo>
                  <a:lnTo>
                    <a:pt x="317" y="701"/>
                  </a:lnTo>
                  <a:lnTo>
                    <a:pt x="344" y="703"/>
                  </a:lnTo>
                  <a:lnTo>
                    <a:pt x="372" y="702"/>
                  </a:lnTo>
                  <a:lnTo>
                    <a:pt x="396" y="697"/>
                  </a:lnTo>
                  <a:lnTo>
                    <a:pt x="420" y="689"/>
                  </a:lnTo>
                  <a:lnTo>
                    <a:pt x="440" y="679"/>
                  </a:lnTo>
                  <a:lnTo>
                    <a:pt x="457" y="666"/>
                  </a:lnTo>
                  <a:lnTo>
                    <a:pt x="469" y="651"/>
                  </a:lnTo>
                  <a:lnTo>
                    <a:pt x="477" y="635"/>
                  </a:lnTo>
                  <a:lnTo>
                    <a:pt x="480" y="616"/>
                  </a:lnTo>
                  <a:lnTo>
                    <a:pt x="479" y="604"/>
                  </a:lnTo>
                  <a:lnTo>
                    <a:pt x="475" y="592"/>
                  </a:lnTo>
                  <a:lnTo>
                    <a:pt x="469" y="579"/>
                  </a:lnTo>
                  <a:lnTo>
                    <a:pt x="460" y="567"/>
                  </a:lnTo>
                  <a:lnTo>
                    <a:pt x="445" y="556"/>
                  </a:lnTo>
                  <a:lnTo>
                    <a:pt x="426" y="546"/>
                  </a:lnTo>
                  <a:lnTo>
                    <a:pt x="403" y="539"/>
                  </a:lnTo>
                  <a:lnTo>
                    <a:pt x="401" y="538"/>
                  </a:lnTo>
                  <a:lnTo>
                    <a:pt x="393" y="536"/>
                  </a:lnTo>
                  <a:lnTo>
                    <a:pt x="383" y="532"/>
                  </a:lnTo>
                  <a:lnTo>
                    <a:pt x="371" y="528"/>
                  </a:lnTo>
                  <a:lnTo>
                    <a:pt x="356" y="524"/>
                  </a:lnTo>
                  <a:lnTo>
                    <a:pt x="342" y="519"/>
                  </a:lnTo>
                  <a:lnTo>
                    <a:pt x="329" y="515"/>
                  </a:lnTo>
                  <a:lnTo>
                    <a:pt x="305" y="509"/>
                  </a:lnTo>
                  <a:lnTo>
                    <a:pt x="285" y="503"/>
                  </a:lnTo>
                  <a:lnTo>
                    <a:pt x="265" y="498"/>
                  </a:lnTo>
                  <a:lnTo>
                    <a:pt x="244" y="491"/>
                  </a:lnTo>
                  <a:lnTo>
                    <a:pt x="220" y="484"/>
                  </a:lnTo>
                  <a:lnTo>
                    <a:pt x="203" y="476"/>
                  </a:lnTo>
                  <a:lnTo>
                    <a:pt x="186" y="470"/>
                  </a:lnTo>
                  <a:lnTo>
                    <a:pt x="171" y="464"/>
                  </a:lnTo>
                  <a:lnTo>
                    <a:pt x="152" y="455"/>
                  </a:lnTo>
                  <a:lnTo>
                    <a:pt x="118" y="433"/>
                  </a:lnTo>
                  <a:lnTo>
                    <a:pt x="89" y="409"/>
                  </a:lnTo>
                  <a:lnTo>
                    <a:pt x="66" y="382"/>
                  </a:lnTo>
                  <a:lnTo>
                    <a:pt x="48" y="351"/>
                  </a:lnTo>
                  <a:lnTo>
                    <a:pt x="34" y="318"/>
                  </a:lnTo>
                  <a:lnTo>
                    <a:pt x="28" y="284"/>
                  </a:lnTo>
                  <a:lnTo>
                    <a:pt x="27" y="248"/>
                  </a:lnTo>
                  <a:lnTo>
                    <a:pt x="28" y="213"/>
                  </a:lnTo>
                  <a:lnTo>
                    <a:pt x="35" y="181"/>
                  </a:lnTo>
                  <a:lnTo>
                    <a:pt x="49" y="149"/>
                  </a:lnTo>
                  <a:lnTo>
                    <a:pt x="67" y="121"/>
                  </a:lnTo>
                  <a:lnTo>
                    <a:pt x="90" y="94"/>
                  </a:lnTo>
                  <a:lnTo>
                    <a:pt x="118" y="71"/>
                  </a:lnTo>
                  <a:lnTo>
                    <a:pt x="149" y="50"/>
                  </a:lnTo>
                  <a:lnTo>
                    <a:pt x="183" y="33"/>
                  </a:lnTo>
                  <a:lnTo>
                    <a:pt x="222" y="19"/>
                  </a:lnTo>
                  <a:lnTo>
                    <a:pt x="261" y="8"/>
                  </a:lnTo>
                  <a:lnTo>
                    <a:pt x="303" y="2"/>
                  </a:lnTo>
                  <a:lnTo>
                    <a:pt x="3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grpSp>
      <p:sp>
        <p:nvSpPr>
          <p:cNvPr id="44" name="Fußzeilenplatzhalter 1"/>
          <p:cNvSpPr>
            <a:spLocks noGrp="1"/>
          </p:cNvSpPr>
          <p:nvPr>
            <p:ph type="ftr" sz="quarter" idx="3"/>
          </p:nvPr>
        </p:nvSpPr>
        <p:spPr>
          <a:xfrm>
            <a:off x="1976292"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r>
              <a:rPr lang="de-DE"/>
              <a:t>GF-Sitzung</a:t>
            </a:r>
          </a:p>
        </p:txBody>
      </p:sp>
      <p:sp>
        <p:nvSpPr>
          <p:cNvPr id="49" name="Datumsplatzhalter 5"/>
          <p:cNvSpPr>
            <a:spLocks noGrp="1"/>
          </p:cNvSpPr>
          <p:nvPr>
            <p:ph type="dt" sz="half" idx="2"/>
          </p:nvPr>
        </p:nvSpPr>
        <p:spPr>
          <a:xfrm>
            <a:off x="930223" y="6509589"/>
            <a:ext cx="1002346" cy="153888"/>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fld id="{740473E2-3F97-4D40-A136-3B50FD061FD6}" type="datetime1">
              <a:rPr lang="de-DE" smtClean="0"/>
              <a:t>19.03.2025</a:t>
            </a:fld>
            <a:endParaRPr lang="de-DE"/>
          </a:p>
        </p:txBody>
      </p:sp>
      <p:sp>
        <p:nvSpPr>
          <p:cNvPr id="4" name="Foliennummernplatzhalter 3">
            <a:extLst>
              <a:ext uri="{FF2B5EF4-FFF2-40B4-BE49-F238E27FC236}">
                <a16:creationId xmlns:a16="http://schemas.microsoft.com/office/drawing/2014/main" id="{3EFD63D1-3B38-406F-A965-6A6DE30F2D64}"/>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3DE26FC0-42C1-434A-9ADA-C98B70E99C00}" type="slidenum">
              <a:rPr lang="de-DE" smtClean="0"/>
              <a:t>‹Nr.›</a:t>
            </a:fld>
            <a:endParaRPr lang="de-DE"/>
          </a:p>
        </p:txBody>
      </p:sp>
    </p:spTree>
    <p:custDataLst>
      <p:tags r:id="rId26"/>
    </p:custDataLst>
    <p:extLst>
      <p:ext uri="{BB962C8B-B14F-4D97-AF65-F5344CB8AC3E}">
        <p14:creationId xmlns:p14="http://schemas.microsoft.com/office/powerpoint/2010/main" val="418545187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Lst>
  <p:hf sldNum="0" hdr="0"/>
  <p:txStyles>
    <p:titleStyle>
      <a:lvl1pPr marL="0" indent="0" algn="l" defTabSz="913943" rtl="0" eaLnBrk="1" latinLnBrk="0" hangingPunct="1">
        <a:spcBef>
          <a:spcPct val="0"/>
        </a:spcBef>
        <a:buNone/>
        <a:defRPr lang="de-DE" sz="2399" kern="1200" baseline="0" dirty="0">
          <a:solidFill>
            <a:schemeClr val="tx2"/>
          </a:solidFill>
          <a:latin typeface="Arial" pitchFamily="34" charset="0"/>
          <a:ea typeface="+mn-ea"/>
          <a:cs typeface="Arial"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7711" indent="-177711"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1pPr>
      <a:lvl2pPr marL="361769" indent="-180885" algn="l" defTabSz="913943" rtl="0" eaLnBrk="1" latinLnBrk="0" hangingPunct="1">
        <a:spcBef>
          <a:spcPts val="600"/>
        </a:spcBef>
        <a:buClr>
          <a:schemeClr val="tx2"/>
        </a:buClr>
        <a:buSzPct val="140000"/>
        <a:buFont typeface="Wingdings 3" pitchFamily="18" charset="2"/>
        <a:buChar char="ê"/>
        <a:tabLst>
          <a:tab pos="361769" algn="l"/>
        </a:tabLst>
        <a:defRPr sz="1799" kern="1200">
          <a:solidFill>
            <a:schemeClr val="tx1"/>
          </a:solidFill>
          <a:latin typeface="Arial" pitchFamily="34" charset="0"/>
          <a:ea typeface="+mn-ea"/>
          <a:cs typeface="Arial" pitchFamily="34" charset="0"/>
        </a:defRPr>
      </a:lvl2pPr>
      <a:lvl3pPr marL="534721" indent="-172951"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3pPr>
      <a:lvl4pPr marL="715605" indent="-180885"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4pPr>
      <a:lvl5pPr marL="896490" indent="-180885"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213">
          <p15:clr>
            <a:srgbClr val="F26B43"/>
          </p15:clr>
        </p15:guide>
        <p15:guide id="3" pos="7471">
          <p15:clr>
            <a:srgbClr val="F26B43"/>
          </p15:clr>
        </p15:guide>
        <p15:guide id="4" orient="horz" pos="3929">
          <p15:clr>
            <a:srgbClr val="F26B43"/>
          </p15:clr>
        </p15:guide>
        <p15:guide id="5" orient="horz" pos="23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4"/>
            </p:custDataLst>
            <p:extLst>
              <p:ext uri="{D42A27DB-BD31-4B8C-83A1-F6EECF244321}">
                <p14:modId xmlns:p14="http://schemas.microsoft.com/office/powerpoint/2010/main" val="1757087431"/>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46" imgW="270" imgH="270" progId="TCLayout.ActiveDocument.1">
                  <p:embed/>
                </p:oleObj>
              </mc:Choice>
              <mc:Fallback>
                <p:oleObj name="think-cell Folie" r:id="rId46" imgW="270" imgH="270" progId="TCLayout.ActiveDocument.1">
                  <p:embed/>
                  <p:pic>
                    <p:nvPicPr>
                      <p:cNvPr id="2" name="Objekt 1" hidden="1"/>
                      <p:cNvPicPr/>
                      <p:nvPr/>
                    </p:nvPicPr>
                    <p:blipFill>
                      <a:blip r:embed="rId47"/>
                      <a:stretch>
                        <a:fillRect/>
                      </a:stretch>
                    </p:blipFill>
                    <p:spPr>
                      <a:xfrm>
                        <a:off x="1588" y="1589"/>
                        <a:ext cx="1586"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F6BD7FB-441C-4306-A8C6-B9B9214E8FAE}"/>
              </a:ext>
            </a:extLst>
          </p:cNvPr>
          <p:cNvSpPr/>
          <p:nvPr userDrawn="1">
            <p:custDataLst>
              <p:tags r:id="rId45"/>
            </p:custDataLst>
          </p:nvPr>
        </p:nvSpPr>
        <p:spPr>
          <a:xfrm>
            <a:off x="0" y="0"/>
            <a:ext cx="158667" cy="1587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de-DE" sz="2399" b="0" i="0" baseline="0">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extplatzhalter 2"/>
          <p:cNvSpPr>
            <a:spLocks noGrp="1"/>
          </p:cNvSpPr>
          <p:nvPr>
            <p:ph type="body" idx="1"/>
          </p:nvPr>
        </p:nvSpPr>
        <p:spPr>
          <a:xfrm>
            <a:off x="339549" y="1701801"/>
            <a:ext cx="11512903" cy="4535489"/>
          </a:xfrm>
          <a:prstGeom prst="rect">
            <a:avLst/>
          </a:prstGeom>
        </p:spPr>
        <p:txBody>
          <a:bodyPr vert="horz" wrap="square"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itelplatzhalter 11"/>
          <p:cNvSpPr>
            <a:spLocks noGrp="1"/>
          </p:cNvSpPr>
          <p:nvPr>
            <p:ph type="title"/>
          </p:nvPr>
        </p:nvSpPr>
        <p:spPr>
          <a:xfrm>
            <a:off x="339548" y="730250"/>
            <a:ext cx="11512904" cy="369332"/>
          </a:xfrm>
          <a:prstGeom prst="rect">
            <a:avLst/>
          </a:prstGeom>
        </p:spPr>
        <p:txBody>
          <a:bodyPr vert="horz" wrap="square" lIns="0" tIns="0" rIns="0" bIns="0" rtlCol="0" anchor="t">
            <a:noAutofit/>
          </a:bodyPr>
          <a:lstStyle/>
          <a:p>
            <a:r>
              <a:rPr lang="de-DE"/>
              <a:t>Titelmasterformat durch Klicken bearbeiten</a:t>
            </a:r>
          </a:p>
        </p:txBody>
      </p:sp>
      <p:cxnSp>
        <p:nvCxnSpPr>
          <p:cNvPr id="5" name="Gerade Verbindung 4"/>
          <p:cNvCxnSpPr/>
          <p:nvPr/>
        </p:nvCxnSpPr>
        <p:spPr>
          <a:xfrm flipH="1">
            <a:off x="-568474" y="205581"/>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568474" y="7286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flipH="1">
            <a:off x="-568474" y="1698625"/>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a:off x="-568474" y="6237288"/>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flipH="1">
            <a:off x="-568474" y="66341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flipH="1">
            <a:off x="12397621" y="205581"/>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flipH="1">
            <a:off x="12397621" y="7286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flipH="1">
            <a:off x="12397621" y="1698625"/>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flipH="1">
            <a:off x="12397621" y="6237288"/>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flipH="1">
            <a:off x="12397621" y="66341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rot="5400000" flipH="1">
            <a:off x="214377"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rot="5400000" flipH="1">
            <a:off x="3916912"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H="1">
            <a:off x="5859994"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rot="5400000" flipH="1">
            <a:off x="6072718"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rot="5400000" flipH="1">
            <a:off x="11722279"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rot="5400000" flipH="1">
            <a:off x="214377"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rot="5400000" flipH="1">
            <a:off x="11722279"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rot="5400000" flipH="1">
            <a:off x="4131753"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a:xfrm rot="5400000" flipH="1">
            <a:off x="7818946"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a:xfrm rot="5400000" flipH="1">
            <a:off x="8033791"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a:xfrm rot="5400000" flipH="1">
            <a:off x="3916912"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a:xfrm rot="5400000" flipH="1">
            <a:off x="5859994"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rot="5400000" flipH="1">
            <a:off x="6072718"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rot="5400000" flipH="1">
            <a:off x="4131753"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rot="5400000" flipH="1">
            <a:off x="7818946"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rot="5400000" flipH="1">
            <a:off x="8033791"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1" name="Gerade Verbindung 50">
            <a:extLst>
              <a:ext uri="{FF2B5EF4-FFF2-40B4-BE49-F238E27FC236}">
                <a16:creationId xmlns:a16="http://schemas.microsoft.com/office/drawing/2014/main" id="{D9D700C8-AA96-4643-8E31-32E4E351D903}"/>
              </a:ext>
            </a:extLst>
          </p:cNvPr>
          <p:cNvCxnSpPr/>
          <p:nvPr userDrawn="1"/>
        </p:nvCxnSpPr>
        <p:spPr>
          <a:xfrm rot="5400000" flipH="1">
            <a:off x="5966220"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1" name="Gruppieren 30">
            <a:extLst>
              <a:ext uri="{FF2B5EF4-FFF2-40B4-BE49-F238E27FC236}">
                <a16:creationId xmlns:a16="http://schemas.microsoft.com/office/drawing/2014/main" id="{D92963F7-3BD5-D936-2EC1-01155E67B18C}"/>
              </a:ext>
            </a:extLst>
          </p:cNvPr>
          <p:cNvGrpSpPr/>
          <p:nvPr userDrawn="1"/>
        </p:nvGrpSpPr>
        <p:grpSpPr>
          <a:xfrm>
            <a:off x="11078154" y="6408739"/>
            <a:ext cx="774298" cy="265113"/>
            <a:chOff x="8015288" y="6408738"/>
            <a:chExt cx="774701" cy="265113"/>
          </a:xfrm>
        </p:grpSpPr>
        <p:sp>
          <p:nvSpPr>
            <p:cNvPr id="42" name="Freeform 6">
              <a:extLst>
                <a:ext uri="{FF2B5EF4-FFF2-40B4-BE49-F238E27FC236}">
                  <a16:creationId xmlns:a16="http://schemas.microsoft.com/office/drawing/2014/main" id="{18475AC9-2926-43E9-9C02-2FAC70F56CE4}"/>
                </a:ext>
              </a:extLst>
            </p:cNvPr>
            <p:cNvSpPr>
              <a:spLocks/>
            </p:cNvSpPr>
            <p:nvPr userDrawn="1"/>
          </p:nvSpPr>
          <p:spPr bwMode="auto">
            <a:xfrm>
              <a:off x="8435976" y="6408738"/>
              <a:ext cx="190500" cy="265113"/>
            </a:xfrm>
            <a:custGeom>
              <a:avLst/>
              <a:gdLst>
                <a:gd name="T0" fmla="*/ 618 w 836"/>
                <a:gd name="T1" fmla="*/ 0 h 1167"/>
                <a:gd name="T2" fmla="*/ 836 w 836"/>
                <a:gd name="T3" fmla="*/ 0 h 1167"/>
                <a:gd name="T4" fmla="*/ 220 w 836"/>
                <a:gd name="T5" fmla="*/ 1167 h 1167"/>
                <a:gd name="T6" fmla="*/ 0 w 836"/>
                <a:gd name="T7" fmla="*/ 1167 h 1167"/>
                <a:gd name="T8" fmla="*/ 618 w 836"/>
                <a:gd name="T9" fmla="*/ 0 h 1167"/>
              </a:gdLst>
              <a:ahLst/>
              <a:cxnLst>
                <a:cxn ang="0">
                  <a:pos x="T0" y="T1"/>
                </a:cxn>
                <a:cxn ang="0">
                  <a:pos x="T2" y="T3"/>
                </a:cxn>
                <a:cxn ang="0">
                  <a:pos x="T4" y="T5"/>
                </a:cxn>
                <a:cxn ang="0">
                  <a:pos x="T6" y="T7"/>
                </a:cxn>
                <a:cxn ang="0">
                  <a:pos x="T8" y="T9"/>
                </a:cxn>
              </a:cxnLst>
              <a:rect l="0" t="0" r="r" b="b"/>
              <a:pathLst>
                <a:path w="836" h="1167">
                  <a:moveTo>
                    <a:pt x="618" y="0"/>
                  </a:moveTo>
                  <a:lnTo>
                    <a:pt x="836" y="0"/>
                  </a:lnTo>
                  <a:lnTo>
                    <a:pt x="220" y="1167"/>
                  </a:lnTo>
                  <a:lnTo>
                    <a:pt x="0" y="1167"/>
                  </a:lnTo>
                  <a:lnTo>
                    <a:pt x="6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3" name="Freeform 7">
              <a:extLst>
                <a:ext uri="{FF2B5EF4-FFF2-40B4-BE49-F238E27FC236}">
                  <a16:creationId xmlns:a16="http://schemas.microsoft.com/office/drawing/2014/main" id="{116B4E47-F479-A493-8B9A-768ECC83792E}"/>
                </a:ext>
              </a:extLst>
            </p:cNvPr>
            <p:cNvSpPr>
              <a:spLocks/>
            </p:cNvSpPr>
            <p:nvPr userDrawn="1"/>
          </p:nvSpPr>
          <p:spPr bwMode="auto">
            <a:xfrm>
              <a:off x="8355013" y="6408738"/>
              <a:ext cx="188913" cy="265113"/>
            </a:xfrm>
            <a:custGeom>
              <a:avLst/>
              <a:gdLst>
                <a:gd name="T0" fmla="*/ 618 w 837"/>
                <a:gd name="T1" fmla="*/ 0 h 1167"/>
                <a:gd name="T2" fmla="*/ 837 w 837"/>
                <a:gd name="T3" fmla="*/ 0 h 1167"/>
                <a:gd name="T4" fmla="*/ 219 w 837"/>
                <a:gd name="T5" fmla="*/ 1167 h 1167"/>
                <a:gd name="T6" fmla="*/ 0 w 837"/>
                <a:gd name="T7" fmla="*/ 1167 h 1167"/>
                <a:gd name="T8" fmla="*/ 618 w 837"/>
                <a:gd name="T9" fmla="*/ 0 h 1167"/>
              </a:gdLst>
              <a:ahLst/>
              <a:cxnLst>
                <a:cxn ang="0">
                  <a:pos x="T0" y="T1"/>
                </a:cxn>
                <a:cxn ang="0">
                  <a:pos x="T2" y="T3"/>
                </a:cxn>
                <a:cxn ang="0">
                  <a:pos x="T4" y="T5"/>
                </a:cxn>
                <a:cxn ang="0">
                  <a:pos x="T6" y="T7"/>
                </a:cxn>
                <a:cxn ang="0">
                  <a:pos x="T8" y="T9"/>
                </a:cxn>
              </a:cxnLst>
              <a:rect l="0" t="0" r="r" b="b"/>
              <a:pathLst>
                <a:path w="837" h="1167">
                  <a:moveTo>
                    <a:pt x="618" y="0"/>
                  </a:moveTo>
                  <a:lnTo>
                    <a:pt x="837" y="0"/>
                  </a:lnTo>
                  <a:lnTo>
                    <a:pt x="219" y="1167"/>
                  </a:lnTo>
                  <a:lnTo>
                    <a:pt x="0" y="1167"/>
                  </a:lnTo>
                  <a:lnTo>
                    <a:pt x="6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4" name="Freeform 8">
              <a:extLst>
                <a:ext uri="{FF2B5EF4-FFF2-40B4-BE49-F238E27FC236}">
                  <a16:creationId xmlns:a16="http://schemas.microsoft.com/office/drawing/2014/main" id="{0B8E83C5-4028-98E2-4BE9-C1BB640B2E48}"/>
                </a:ext>
              </a:extLst>
            </p:cNvPr>
            <p:cNvSpPr>
              <a:spLocks/>
            </p:cNvSpPr>
            <p:nvPr userDrawn="1"/>
          </p:nvSpPr>
          <p:spPr bwMode="auto">
            <a:xfrm>
              <a:off x="8193088" y="6450013"/>
              <a:ext cx="247650" cy="182563"/>
            </a:xfrm>
            <a:custGeom>
              <a:avLst/>
              <a:gdLst>
                <a:gd name="T0" fmla="*/ 0 w 1098"/>
                <a:gd name="T1" fmla="*/ 0 h 809"/>
                <a:gd name="T2" fmla="*/ 200 w 1098"/>
                <a:gd name="T3" fmla="*/ 0 h 809"/>
                <a:gd name="T4" fmla="*/ 200 w 1098"/>
                <a:gd name="T5" fmla="*/ 431 h 809"/>
                <a:gd name="T6" fmla="*/ 446 w 1098"/>
                <a:gd name="T7" fmla="*/ 0 h 809"/>
                <a:gd name="T8" fmla="*/ 664 w 1098"/>
                <a:gd name="T9" fmla="*/ 0 h 809"/>
                <a:gd name="T10" fmla="*/ 664 w 1098"/>
                <a:gd name="T11" fmla="*/ 439 h 809"/>
                <a:gd name="T12" fmla="*/ 905 w 1098"/>
                <a:gd name="T13" fmla="*/ 0 h 809"/>
                <a:gd name="T14" fmla="*/ 1098 w 1098"/>
                <a:gd name="T15" fmla="*/ 0 h 809"/>
                <a:gd name="T16" fmla="*/ 667 w 1098"/>
                <a:gd name="T17" fmla="*/ 809 h 809"/>
                <a:gd name="T18" fmla="*/ 460 w 1098"/>
                <a:gd name="T19" fmla="*/ 809 h 809"/>
                <a:gd name="T20" fmla="*/ 460 w 1098"/>
                <a:gd name="T21" fmla="*/ 342 h 809"/>
                <a:gd name="T22" fmla="*/ 200 w 1098"/>
                <a:gd name="T23" fmla="*/ 809 h 809"/>
                <a:gd name="T24" fmla="*/ 0 w 1098"/>
                <a:gd name="T25" fmla="*/ 809 h 809"/>
                <a:gd name="T26" fmla="*/ 0 w 1098"/>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8" h="809">
                  <a:moveTo>
                    <a:pt x="0" y="0"/>
                  </a:moveTo>
                  <a:lnTo>
                    <a:pt x="200" y="0"/>
                  </a:lnTo>
                  <a:lnTo>
                    <a:pt x="200" y="431"/>
                  </a:lnTo>
                  <a:lnTo>
                    <a:pt x="446" y="0"/>
                  </a:lnTo>
                  <a:lnTo>
                    <a:pt x="664" y="0"/>
                  </a:lnTo>
                  <a:lnTo>
                    <a:pt x="664" y="439"/>
                  </a:lnTo>
                  <a:lnTo>
                    <a:pt x="905" y="0"/>
                  </a:lnTo>
                  <a:lnTo>
                    <a:pt x="1098" y="0"/>
                  </a:lnTo>
                  <a:lnTo>
                    <a:pt x="667" y="809"/>
                  </a:lnTo>
                  <a:lnTo>
                    <a:pt x="460" y="809"/>
                  </a:lnTo>
                  <a:lnTo>
                    <a:pt x="460" y="342"/>
                  </a:lnTo>
                  <a:lnTo>
                    <a:pt x="200" y="809"/>
                  </a:lnTo>
                  <a:lnTo>
                    <a:pt x="0" y="809"/>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5" name="Freeform 9">
              <a:extLst>
                <a:ext uri="{FF2B5EF4-FFF2-40B4-BE49-F238E27FC236}">
                  <a16:creationId xmlns:a16="http://schemas.microsoft.com/office/drawing/2014/main" id="{FA7E0DB6-0CCF-B146-9F5A-CC25E261E93F}"/>
                </a:ext>
              </a:extLst>
            </p:cNvPr>
            <p:cNvSpPr>
              <a:spLocks/>
            </p:cNvSpPr>
            <p:nvPr userDrawn="1"/>
          </p:nvSpPr>
          <p:spPr bwMode="auto">
            <a:xfrm>
              <a:off x="8540751" y="6450013"/>
              <a:ext cx="249238" cy="182563"/>
            </a:xfrm>
            <a:custGeom>
              <a:avLst/>
              <a:gdLst>
                <a:gd name="T0" fmla="*/ 428 w 1100"/>
                <a:gd name="T1" fmla="*/ 0 h 809"/>
                <a:gd name="T2" fmla="*/ 642 w 1100"/>
                <a:gd name="T3" fmla="*/ 0 h 809"/>
                <a:gd name="T4" fmla="*/ 642 w 1100"/>
                <a:gd name="T5" fmla="*/ 467 h 809"/>
                <a:gd name="T6" fmla="*/ 897 w 1100"/>
                <a:gd name="T7" fmla="*/ 0 h 809"/>
                <a:gd name="T8" fmla="*/ 1100 w 1100"/>
                <a:gd name="T9" fmla="*/ 0 h 809"/>
                <a:gd name="T10" fmla="*/ 1100 w 1100"/>
                <a:gd name="T11" fmla="*/ 809 h 809"/>
                <a:gd name="T12" fmla="*/ 897 w 1100"/>
                <a:gd name="T13" fmla="*/ 809 h 809"/>
                <a:gd name="T14" fmla="*/ 897 w 1100"/>
                <a:gd name="T15" fmla="*/ 378 h 809"/>
                <a:gd name="T16" fmla="*/ 642 w 1100"/>
                <a:gd name="T17" fmla="*/ 809 h 809"/>
                <a:gd name="T18" fmla="*/ 433 w 1100"/>
                <a:gd name="T19" fmla="*/ 809 h 809"/>
                <a:gd name="T20" fmla="*/ 433 w 1100"/>
                <a:gd name="T21" fmla="*/ 376 h 809"/>
                <a:gd name="T22" fmla="*/ 194 w 1100"/>
                <a:gd name="T23" fmla="*/ 809 h 809"/>
                <a:gd name="T24" fmla="*/ 0 w 1100"/>
                <a:gd name="T25" fmla="*/ 809 h 809"/>
                <a:gd name="T26" fmla="*/ 428 w 1100"/>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0" h="809">
                  <a:moveTo>
                    <a:pt x="428" y="0"/>
                  </a:moveTo>
                  <a:lnTo>
                    <a:pt x="642" y="0"/>
                  </a:lnTo>
                  <a:lnTo>
                    <a:pt x="642" y="467"/>
                  </a:lnTo>
                  <a:lnTo>
                    <a:pt x="897" y="0"/>
                  </a:lnTo>
                  <a:lnTo>
                    <a:pt x="1100" y="0"/>
                  </a:lnTo>
                  <a:lnTo>
                    <a:pt x="1100" y="809"/>
                  </a:lnTo>
                  <a:lnTo>
                    <a:pt x="897" y="809"/>
                  </a:lnTo>
                  <a:lnTo>
                    <a:pt x="897" y="378"/>
                  </a:lnTo>
                  <a:lnTo>
                    <a:pt x="642" y="809"/>
                  </a:lnTo>
                  <a:lnTo>
                    <a:pt x="433" y="809"/>
                  </a:lnTo>
                  <a:lnTo>
                    <a:pt x="433" y="376"/>
                  </a:lnTo>
                  <a:lnTo>
                    <a:pt x="194" y="809"/>
                  </a:lnTo>
                  <a:lnTo>
                    <a:pt x="0" y="809"/>
                  </a:lnTo>
                  <a:lnTo>
                    <a:pt x="42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6" name="Freeform 10">
              <a:extLst>
                <a:ext uri="{FF2B5EF4-FFF2-40B4-BE49-F238E27FC236}">
                  <a16:creationId xmlns:a16="http://schemas.microsoft.com/office/drawing/2014/main" id="{97F8B50C-FA81-6DCD-10A4-1F9FE28751C3}"/>
                </a:ext>
              </a:extLst>
            </p:cNvPr>
            <p:cNvSpPr>
              <a:spLocks/>
            </p:cNvSpPr>
            <p:nvPr userDrawn="1"/>
          </p:nvSpPr>
          <p:spPr bwMode="auto">
            <a:xfrm>
              <a:off x="8015288" y="6442075"/>
              <a:ext cx="155575" cy="195263"/>
            </a:xfrm>
            <a:custGeom>
              <a:avLst/>
              <a:gdLst>
                <a:gd name="T0" fmla="*/ 432 w 688"/>
                <a:gd name="T1" fmla="*/ 8 h 862"/>
                <a:gd name="T2" fmla="*/ 542 w 688"/>
                <a:gd name="T3" fmla="*/ 51 h 862"/>
                <a:gd name="T4" fmla="*/ 623 w 688"/>
                <a:gd name="T5" fmla="*/ 122 h 862"/>
                <a:gd name="T6" fmla="*/ 665 w 688"/>
                <a:gd name="T7" fmla="*/ 214 h 862"/>
                <a:gd name="T8" fmla="*/ 459 w 688"/>
                <a:gd name="T9" fmla="*/ 271 h 862"/>
                <a:gd name="T10" fmla="*/ 447 w 688"/>
                <a:gd name="T11" fmla="*/ 218 h 862"/>
                <a:gd name="T12" fmla="*/ 396 w 688"/>
                <a:gd name="T13" fmla="*/ 181 h 862"/>
                <a:gd name="T14" fmla="*/ 333 w 688"/>
                <a:gd name="T15" fmla="*/ 173 h 862"/>
                <a:gd name="T16" fmla="*/ 271 w 688"/>
                <a:gd name="T17" fmla="*/ 186 h 862"/>
                <a:gd name="T18" fmla="*/ 237 w 688"/>
                <a:gd name="T19" fmla="*/ 217 h 862"/>
                <a:gd name="T20" fmla="*/ 238 w 688"/>
                <a:gd name="T21" fmla="*/ 256 h 862"/>
                <a:gd name="T22" fmla="*/ 284 w 688"/>
                <a:gd name="T23" fmla="*/ 295 h 862"/>
                <a:gd name="T24" fmla="*/ 332 w 688"/>
                <a:gd name="T25" fmla="*/ 313 h 862"/>
                <a:gd name="T26" fmla="*/ 388 w 688"/>
                <a:gd name="T27" fmla="*/ 329 h 862"/>
                <a:gd name="T28" fmla="*/ 444 w 688"/>
                <a:gd name="T29" fmla="*/ 346 h 862"/>
                <a:gd name="T30" fmla="*/ 498 w 688"/>
                <a:gd name="T31" fmla="*/ 365 h 862"/>
                <a:gd name="T32" fmla="*/ 544 w 688"/>
                <a:gd name="T33" fmla="*/ 384 h 862"/>
                <a:gd name="T34" fmla="*/ 566 w 688"/>
                <a:gd name="T35" fmla="*/ 394 h 862"/>
                <a:gd name="T36" fmla="*/ 643 w 688"/>
                <a:gd name="T37" fmla="*/ 453 h 862"/>
                <a:gd name="T38" fmla="*/ 685 w 688"/>
                <a:gd name="T39" fmla="*/ 537 h 862"/>
                <a:gd name="T40" fmla="*/ 684 w 688"/>
                <a:gd name="T41" fmla="*/ 646 h 862"/>
                <a:gd name="T42" fmla="*/ 643 w 688"/>
                <a:gd name="T43" fmla="*/ 744 h 862"/>
                <a:gd name="T44" fmla="*/ 562 w 688"/>
                <a:gd name="T45" fmla="*/ 814 h 862"/>
                <a:gd name="T46" fmla="*/ 443 w 688"/>
                <a:gd name="T47" fmla="*/ 854 h 862"/>
                <a:gd name="T48" fmla="*/ 293 w 688"/>
                <a:gd name="T49" fmla="*/ 859 h 862"/>
                <a:gd name="T50" fmla="*/ 165 w 688"/>
                <a:gd name="T51" fmla="*/ 831 h 862"/>
                <a:gd name="T52" fmla="*/ 73 w 688"/>
                <a:gd name="T53" fmla="*/ 772 h 862"/>
                <a:gd name="T54" fmla="*/ 19 w 688"/>
                <a:gd name="T55" fmla="*/ 683 h 862"/>
                <a:gd name="T56" fmla="*/ 0 w 688"/>
                <a:gd name="T57" fmla="*/ 566 h 862"/>
                <a:gd name="T58" fmla="*/ 219 w 688"/>
                <a:gd name="T59" fmla="*/ 620 h 862"/>
                <a:gd name="T60" fmla="*/ 268 w 688"/>
                <a:gd name="T61" fmla="*/ 681 h 862"/>
                <a:gd name="T62" fmla="*/ 344 w 688"/>
                <a:gd name="T63" fmla="*/ 703 h 862"/>
                <a:gd name="T64" fmla="*/ 420 w 688"/>
                <a:gd name="T65" fmla="*/ 689 h 862"/>
                <a:gd name="T66" fmla="*/ 469 w 688"/>
                <a:gd name="T67" fmla="*/ 651 h 862"/>
                <a:gd name="T68" fmla="*/ 479 w 688"/>
                <a:gd name="T69" fmla="*/ 604 h 862"/>
                <a:gd name="T70" fmla="*/ 460 w 688"/>
                <a:gd name="T71" fmla="*/ 567 h 862"/>
                <a:gd name="T72" fmla="*/ 403 w 688"/>
                <a:gd name="T73" fmla="*/ 539 h 862"/>
                <a:gd name="T74" fmla="*/ 383 w 688"/>
                <a:gd name="T75" fmla="*/ 532 h 862"/>
                <a:gd name="T76" fmla="*/ 342 w 688"/>
                <a:gd name="T77" fmla="*/ 519 h 862"/>
                <a:gd name="T78" fmla="*/ 285 w 688"/>
                <a:gd name="T79" fmla="*/ 503 h 862"/>
                <a:gd name="T80" fmla="*/ 220 w 688"/>
                <a:gd name="T81" fmla="*/ 484 h 862"/>
                <a:gd name="T82" fmla="*/ 171 w 688"/>
                <a:gd name="T83" fmla="*/ 464 h 862"/>
                <a:gd name="T84" fmla="*/ 89 w 688"/>
                <a:gd name="T85" fmla="*/ 409 h 862"/>
                <a:gd name="T86" fmla="*/ 34 w 688"/>
                <a:gd name="T87" fmla="*/ 318 h 862"/>
                <a:gd name="T88" fmla="*/ 28 w 688"/>
                <a:gd name="T89" fmla="*/ 213 h 862"/>
                <a:gd name="T90" fmla="*/ 67 w 688"/>
                <a:gd name="T91" fmla="*/ 121 h 862"/>
                <a:gd name="T92" fmla="*/ 149 w 688"/>
                <a:gd name="T93" fmla="*/ 50 h 862"/>
                <a:gd name="T94" fmla="*/ 261 w 688"/>
                <a:gd name="T95" fmla="*/ 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8" h="862">
                  <a:moveTo>
                    <a:pt x="347" y="0"/>
                  </a:moveTo>
                  <a:lnTo>
                    <a:pt x="390" y="2"/>
                  </a:lnTo>
                  <a:lnTo>
                    <a:pt x="432" y="8"/>
                  </a:lnTo>
                  <a:lnTo>
                    <a:pt x="471" y="19"/>
                  </a:lnTo>
                  <a:lnTo>
                    <a:pt x="508" y="34"/>
                  </a:lnTo>
                  <a:lnTo>
                    <a:pt x="542" y="51"/>
                  </a:lnTo>
                  <a:lnTo>
                    <a:pt x="573" y="73"/>
                  </a:lnTo>
                  <a:lnTo>
                    <a:pt x="600" y="97"/>
                  </a:lnTo>
                  <a:lnTo>
                    <a:pt x="623" y="122"/>
                  </a:lnTo>
                  <a:lnTo>
                    <a:pt x="642" y="151"/>
                  </a:lnTo>
                  <a:lnTo>
                    <a:pt x="655" y="182"/>
                  </a:lnTo>
                  <a:lnTo>
                    <a:pt x="665" y="214"/>
                  </a:lnTo>
                  <a:lnTo>
                    <a:pt x="667" y="248"/>
                  </a:lnTo>
                  <a:lnTo>
                    <a:pt x="667" y="271"/>
                  </a:lnTo>
                  <a:lnTo>
                    <a:pt x="459" y="271"/>
                  </a:lnTo>
                  <a:lnTo>
                    <a:pt x="459" y="255"/>
                  </a:lnTo>
                  <a:lnTo>
                    <a:pt x="455" y="235"/>
                  </a:lnTo>
                  <a:lnTo>
                    <a:pt x="447" y="218"/>
                  </a:lnTo>
                  <a:lnTo>
                    <a:pt x="434" y="203"/>
                  </a:lnTo>
                  <a:lnTo>
                    <a:pt x="417" y="190"/>
                  </a:lnTo>
                  <a:lnTo>
                    <a:pt x="396" y="181"/>
                  </a:lnTo>
                  <a:lnTo>
                    <a:pt x="373" y="174"/>
                  </a:lnTo>
                  <a:lnTo>
                    <a:pt x="347" y="172"/>
                  </a:lnTo>
                  <a:lnTo>
                    <a:pt x="333" y="173"/>
                  </a:lnTo>
                  <a:lnTo>
                    <a:pt x="311" y="174"/>
                  </a:lnTo>
                  <a:lnTo>
                    <a:pt x="290" y="178"/>
                  </a:lnTo>
                  <a:lnTo>
                    <a:pt x="271" y="186"/>
                  </a:lnTo>
                  <a:lnTo>
                    <a:pt x="257" y="195"/>
                  </a:lnTo>
                  <a:lnTo>
                    <a:pt x="245" y="205"/>
                  </a:lnTo>
                  <a:lnTo>
                    <a:pt x="237" y="217"/>
                  </a:lnTo>
                  <a:lnTo>
                    <a:pt x="235" y="230"/>
                  </a:lnTo>
                  <a:lnTo>
                    <a:pt x="235" y="239"/>
                  </a:lnTo>
                  <a:lnTo>
                    <a:pt x="238" y="256"/>
                  </a:lnTo>
                  <a:lnTo>
                    <a:pt x="248" y="271"/>
                  </a:lnTo>
                  <a:lnTo>
                    <a:pt x="263" y="284"/>
                  </a:lnTo>
                  <a:lnTo>
                    <a:pt x="284" y="295"/>
                  </a:lnTo>
                  <a:lnTo>
                    <a:pt x="301" y="302"/>
                  </a:lnTo>
                  <a:lnTo>
                    <a:pt x="318" y="309"/>
                  </a:lnTo>
                  <a:lnTo>
                    <a:pt x="332" y="313"/>
                  </a:lnTo>
                  <a:lnTo>
                    <a:pt x="349" y="318"/>
                  </a:lnTo>
                  <a:lnTo>
                    <a:pt x="367" y="324"/>
                  </a:lnTo>
                  <a:lnTo>
                    <a:pt x="388" y="329"/>
                  </a:lnTo>
                  <a:lnTo>
                    <a:pt x="408" y="334"/>
                  </a:lnTo>
                  <a:lnTo>
                    <a:pt x="425" y="340"/>
                  </a:lnTo>
                  <a:lnTo>
                    <a:pt x="444" y="346"/>
                  </a:lnTo>
                  <a:lnTo>
                    <a:pt x="465" y="353"/>
                  </a:lnTo>
                  <a:lnTo>
                    <a:pt x="480" y="359"/>
                  </a:lnTo>
                  <a:lnTo>
                    <a:pt x="498" y="365"/>
                  </a:lnTo>
                  <a:lnTo>
                    <a:pt x="514" y="372"/>
                  </a:lnTo>
                  <a:lnTo>
                    <a:pt x="530" y="379"/>
                  </a:lnTo>
                  <a:lnTo>
                    <a:pt x="544" y="384"/>
                  </a:lnTo>
                  <a:lnTo>
                    <a:pt x="556" y="389"/>
                  </a:lnTo>
                  <a:lnTo>
                    <a:pt x="563" y="391"/>
                  </a:lnTo>
                  <a:lnTo>
                    <a:pt x="566" y="394"/>
                  </a:lnTo>
                  <a:lnTo>
                    <a:pt x="594" y="409"/>
                  </a:lnTo>
                  <a:lnTo>
                    <a:pt x="620" y="429"/>
                  </a:lnTo>
                  <a:lnTo>
                    <a:pt x="643" y="453"/>
                  </a:lnTo>
                  <a:lnTo>
                    <a:pt x="662" y="479"/>
                  </a:lnTo>
                  <a:lnTo>
                    <a:pt x="676" y="508"/>
                  </a:lnTo>
                  <a:lnTo>
                    <a:pt x="685" y="537"/>
                  </a:lnTo>
                  <a:lnTo>
                    <a:pt x="688" y="567"/>
                  </a:lnTo>
                  <a:lnTo>
                    <a:pt x="688" y="608"/>
                  </a:lnTo>
                  <a:lnTo>
                    <a:pt x="684" y="646"/>
                  </a:lnTo>
                  <a:lnTo>
                    <a:pt x="675" y="682"/>
                  </a:lnTo>
                  <a:lnTo>
                    <a:pt x="661" y="714"/>
                  </a:lnTo>
                  <a:lnTo>
                    <a:pt x="643" y="744"/>
                  </a:lnTo>
                  <a:lnTo>
                    <a:pt x="620" y="771"/>
                  </a:lnTo>
                  <a:lnTo>
                    <a:pt x="593" y="794"/>
                  </a:lnTo>
                  <a:lnTo>
                    <a:pt x="562" y="814"/>
                  </a:lnTo>
                  <a:lnTo>
                    <a:pt x="527" y="831"/>
                  </a:lnTo>
                  <a:lnTo>
                    <a:pt x="488" y="844"/>
                  </a:lnTo>
                  <a:lnTo>
                    <a:pt x="443" y="854"/>
                  </a:lnTo>
                  <a:lnTo>
                    <a:pt x="396" y="859"/>
                  </a:lnTo>
                  <a:lnTo>
                    <a:pt x="345" y="862"/>
                  </a:lnTo>
                  <a:lnTo>
                    <a:pt x="293" y="859"/>
                  </a:lnTo>
                  <a:lnTo>
                    <a:pt x="246" y="854"/>
                  </a:lnTo>
                  <a:lnTo>
                    <a:pt x="203" y="844"/>
                  </a:lnTo>
                  <a:lnTo>
                    <a:pt x="165" y="831"/>
                  </a:lnTo>
                  <a:lnTo>
                    <a:pt x="130" y="815"/>
                  </a:lnTo>
                  <a:lnTo>
                    <a:pt x="99" y="795"/>
                  </a:lnTo>
                  <a:lnTo>
                    <a:pt x="73" y="772"/>
                  </a:lnTo>
                  <a:lnTo>
                    <a:pt x="51" y="745"/>
                  </a:lnTo>
                  <a:lnTo>
                    <a:pt x="32" y="715"/>
                  </a:lnTo>
                  <a:lnTo>
                    <a:pt x="19" y="683"/>
                  </a:lnTo>
                  <a:lnTo>
                    <a:pt x="8" y="646"/>
                  </a:lnTo>
                  <a:lnTo>
                    <a:pt x="2" y="608"/>
                  </a:lnTo>
                  <a:lnTo>
                    <a:pt x="0" y="566"/>
                  </a:lnTo>
                  <a:lnTo>
                    <a:pt x="208" y="566"/>
                  </a:lnTo>
                  <a:lnTo>
                    <a:pt x="211" y="594"/>
                  </a:lnTo>
                  <a:lnTo>
                    <a:pt x="219" y="620"/>
                  </a:lnTo>
                  <a:lnTo>
                    <a:pt x="232" y="643"/>
                  </a:lnTo>
                  <a:lnTo>
                    <a:pt x="248" y="664"/>
                  </a:lnTo>
                  <a:lnTo>
                    <a:pt x="268" y="681"/>
                  </a:lnTo>
                  <a:lnTo>
                    <a:pt x="292" y="693"/>
                  </a:lnTo>
                  <a:lnTo>
                    <a:pt x="317" y="701"/>
                  </a:lnTo>
                  <a:lnTo>
                    <a:pt x="344" y="703"/>
                  </a:lnTo>
                  <a:lnTo>
                    <a:pt x="372" y="702"/>
                  </a:lnTo>
                  <a:lnTo>
                    <a:pt x="396" y="697"/>
                  </a:lnTo>
                  <a:lnTo>
                    <a:pt x="420" y="689"/>
                  </a:lnTo>
                  <a:lnTo>
                    <a:pt x="440" y="679"/>
                  </a:lnTo>
                  <a:lnTo>
                    <a:pt x="457" y="666"/>
                  </a:lnTo>
                  <a:lnTo>
                    <a:pt x="469" y="651"/>
                  </a:lnTo>
                  <a:lnTo>
                    <a:pt x="477" y="635"/>
                  </a:lnTo>
                  <a:lnTo>
                    <a:pt x="480" y="616"/>
                  </a:lnTo>
                  <a:lnTo>
                    <a:pt x="479" y="604"/>
                  </a:lnTo>
                  <a:lnTo>
                    <a:pt x="475" y="592"/>
                  </a:lnTo>
                  <a:lnTo>
                    <a:pt x="469" y="579"/>
                  </a:lnTo>
                  <a:lnTo>
                    <a:pt x="460" y="567"/>
                  </a:lnTo>
                  <a:lnTo>
                    <a:pt x="445" y="556"/>
                  </a:lnTo>
                  <a:lnTo>
                    <a:pt x="426" y="546"/>
                  </a:lnTo>
                  <a:lnTo>
                    <a:pt x="403" y="539"/>
                  </a:lnTo>
                  <a:lnTo>
                    <a:pt x="401" y="538"/>
                  </a:lnTo>
                  <a:lnTo>
                    <a:pt x="393" y="536"/>
                  </a:lnTo>
                  <a:lnTo>
                    <a:pt x="383" y="532"/>
                  </a:lnTo>
                  <a:lnTo>
                    <a:pt x="371" y="528"/>
                  </a:lnTo>
                  <a:lnTo>
                    <a:pt x="356" y="524"/>
                  </a:lnTo>
                  <a:lnTo>
                    <a:pt x="342" y="519"/>
                  </a:lnTo>
                  <a:lnTo>
                    <a:pt x="329" y="515"/>
                  </a:lnTo>
                  <a:lnTo>
                    <a:pt x="305" y="509"/>
                  </a:lnTo>
                  <a:lnTo>
                    <a:pt x="285" y="503"/>
                  </a:lnTo>
                  <a:lnTo>
                    <a:pt x="265" y="498"/>
                  </a:lnTo>
                  <a:lnTo>
                    <a:pt x="244" y="491"/>
                  </a:lnTo>
                  <a:lnTo>
                    <a:pt x="220" y="484"/>
                  </a:lnTo>
                  <a:lnTo>
                    <a:pt x="203" y="476"/>
                  </a:lnTo>
                  <a:lnTo>
                    <a:pt x="186" y="470"/>
                  </a:lnTo>
                  <a:lnTo>
                    <a:pt x="171" y="464"/>
                  </a:lnTo>
                  <a:lnTo>
                    <a:pt x="152" y="455"/>
                  </a:lnTo>
                  <a:lnTo>
                    <a:pt x="118" y="433"/>
                  </a:lnTo>
                  <a:lnTo>
                    <a:pt x="89" y="409"/>
                  </a:lnTo>
                  <a:lnTo>
                    <a:pt x="66" y="382"/>
                  </a:lnTo>
                  <a:lnTo>
                    <a:pt x="48" y="351"/>
                  </a:lnTo>
                  <a:lnTo>
                    <a:pt x="34" y="318"/>
                  </a:lnTo>
                  <a:lnTo>
                    <a:pt x="28" y="284"/>
                  </a:lnTo>
                  <a:lnTo>
                    <a:pt x="27" y="248"/>
                  </a:lnTo>
                  <a:lnTo>
                    <a:pt x="28" y="213"/>
                  </a:lnTo>
                  <a:lnTo>
                    <a:pt x="35" y="181"/>
                  </a:lnTo>
                  <a:lnTo>
                    <a:pt x="49" y="149"/>
                  </a:lnTo>
                  <a:lnTo>
                    <a:pt x="67" y="121"/>
                  </a:lnTo>
                  <a:lnTo>
                    <a:pt x="90" y="94"/>
                  </a:lnTo>
                  <a:lnTo>
                    <a:pt x="118" y="71"/>
                  </a:lnTo>
                  <a:lnTo>
                    <a:pt x="149" y="50"/>
                  </a:lnTo>
                  <a:lnTo>
                    <a:pt x="183" y="33"/>
                  </a:lnTo>
                  <a:lnTo>
                    <a:pt x="222" y="19"/>
                  </a:lnTo>
                  <a:lnTo>
                    <a:pt x="261" y="8"/>
                  </a:lnTo>
                  <a:lnTo>
                    <a:pt x="303" y="2"/>
                  </a:lnTo>
                  <a:lnTo>
                    <a:pt x="3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grpSp>
      <p:sp>
        <p:nvSpPr>
          <p:cNvPr id="47" name="Fußzeilenplatzhalter 1">
            <a:extLst>
              <a:ext uri="{FF2B5EF4-FFF2-40B4-BE49-F238E27FC236}">
                <a16:creationId xmlns:a16="http://schemas.microsoft.com/office/drawing/2014/main" id="{B02C0B5C-1DB1-826D-A391-0F8DAE4C3757}"/>
              </a:ext>
            </a:extLst>
          </p:cNvPr>
          <p:cNvSpPr>
            <a:spLocks noGrp="1"/>
          </p:cNvSpPr>
          <p:nvPr>
            <p:ph type="ftr" sz="quarter" idx="3"/>
          </p:nvPr>
        </p:nvSpPr>
        <p:spPr>
          <a:xfrm>
            <a:off x="1397893"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pPr>
              <a:tabLst>
                <a:tab pos="1256671" algn="l"/>
                <a:tab pos="2687880" algn="l"/>
              </a:tabLst>
            </a:pPr>
            <a:r>
              <a:rPr lang="de-DE"/>
              <a:t>/ Die Stadtwerke München</a:t>
            </a:r>
          </a:p>
        </p:txBody>
      </p:sp>
      <p:sp>
        <p:nvSpPr>
          <p:cNvPr id="48" name="Datumsplatzhalter 5">
            <a:extLst>
              <a:ext uri="{FF2B5EF4-FFF2-40B4-BE49-F238E27FC236}">
                <a16:creationId xmlns:a16="http://schemas.microsoft.com/office/drawing/2014/main" id="{83D6739E-70C4-6FB5-A8FC-A07F273A724E}"/>
              </a:ext>
            </a:extLst>
          </p:cNvPr>
          <p:cNvSpPr>
            <a:spLocks noGrp="1"/>
          </p:cNvSpPr>
          <p:nvPr>
            <p:ph type="dt" sz="half" idx="2"/>
          </p:nvPr>
        </p:nvSpPr>
        <p:spPr>
          <a:xfrm>
            <a:off x="763851" y="6509589"/>
            <a:ext cx="590319" cy="164262"/>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pPr algn="r">
              <a:tabLst>
                <a:tab pos="1256671" algn="l"/>
                <a:tab pos="2687880" algn="l"/>
              </a:tabLst>
            </a:pPr>
            <a:r>
              <a:rPr lang="de-DE"/>
              <a:t>Datum</a:t>
            </a:r>
          </a:p>
        </p:txBody>
      </p:sp>
      <p:sp>
        <p:nvSpPr>
          <p:cNvPr id="49" name="Foliennummernplatzhalter 3">
            <a:extLst>
              <a:ext uri="{FF2B5EF4-FFF2-40B4-BE49-F238E27FC236}">
                <a16:creationId xmlns:a16="http://schemas.microsoft.com/office/drawing/2014/main" id="{572DE9BF-FC3C-651C-542F-402AA38D26B7}"/>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CAAC1DFF-D847-41A9-936B-84F626DB394F}" type="slidenum">
              <a:rPr lang="de-DE" smtClean="0"/>
              <a:pPr/>
              <a:t>‹Nr.›</a:t>
            </a:fld>
            <a:endParaRPr lang="de-DE"/>
          </a:p>
        </p:txBody>
      </p:sp>
    </p:spTree>
    <p:custDataLst>
      <p:tags r:id="rId43"/>
    </p:custDataLst>
    <p:extLst>
      <p:ext uri="{BB962C8B-B14F-4D97-AF65-F5344CB8AC3E}">
        <p14:creationId xmlns:p14="http://schemas.microsoft.com/office/powerpoint/2010/main" val="177130981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Lst>
  <p:hf hdr="0"/>
  <p:txStyles>
    <p:titleStyle>
      <a:lvl1pPr marL="0" indent="0" algn="l" defTabSz="913943" rtl="0" eaLnBrk="1" latinLnBrk="0" hangingPunct="1">
        <a:spcBef>
          <a:spcPct val="0"/>
        </a:spcBef>
        <a:buNone/>
        <a:defRPr lang="de-DE" sz="2399" kern="1200" baseline="0" dirty="0">
          <a:solidFill>
            <a:schemeClr val="tx2"/>
          </a:solidFill>
          <a:latin typeface="Arial" pitchFamily="34" charset="0"/>
          <a:ea typeface="+mn-ea"/>
          <a:cs typeface="Arial"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7711" indent="-177711"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1pPr>
      <a:lvl2pPr marL="361769" indent="-180885" algn="l" defTabSz="913943" rtl="0" eaLnBrk="1" latinLnBrk="0" hangingPunct="1">
        <a:spcBef>
          <a:spcPts val="600"/>
        </a:spcBef>
        <a:buClr>
          <a:schemeClr val="tx2"/>
        </a:buClr>
        <a:buSzPct val="140000"/>
        <a:buFont typeface="Wingdings 3" pitchFamily="18" charset="2"/>
        <a:buChar char="ê"/>
        <a:tabLst>
          <a:tab pos="361769" algn="l"/>
        </a:tabLst>
        <a:defRPr sz="1799" kern="1200">
          <a:solidFill>
            <a:schemeClr val="tx1"/>
          </a:solidFill>
          <a:latin typeface="Arial" pitchFamily="34" charset="0"/>
          <a:ea typeface="+mn-ea"/>
          <a:cs typeface="Arial" pitchFamily="34" charset="0"/>
        </a:defRPr>
      </a:lvl2pPr>
      <a:lvl3pPr marL="534721" indent="-172951"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3pPr>
      <a:lvl4pPr marL="715605" indent="-180885"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4pPr>
      <a:lvl5pPr marL="896490" indent="-180885"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213">
          <p15:clr>
            <a:srgbClr val="F26B43"/>
          </p15:clr>
        </p15:guide>
        <p15:guide id="3" pos="7471">
          <p15:clr>
            <a:srgbClr val="F26B43"/>
          </p15:clr>
        </p15:guide>
        <p15:guide id="4" orient="horz" pos="3929">
          <p15:clr>
            <a:srgbClr val="F26B43"/>
          </p15:clr>
        </p15:guide>
        <p15:guide id="5" orient="horz" pos="230">
          <p15:clr>
            <a:srgbClr val="F26B43"/>
          </p15:clr>
        </p15:guide>
        <p15:guide id="6" pos="384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10"/>
            </p:custDataLst>
            <p:extLst>
              <p:ext uri="{D42A27DB-BD31-4B8C-83A1-F6EECF244321}">
                <p14:modId xmlns:p14="http://schemas.microsoft.com/office/powerpoint/2010/main" val="986154296"/>
              </p:ext>
            </p:extLst>
          </p:nvPr>
        </p:nvGraphicFramePr>
        <p:xfrm>
          <a:off x="1588" y="1589"/>
          <a:ext cx="1586" cy="1587"/>
        </p:xfrm>
        <a:graphic>
          <a:graphicData uri="http://schemas.openxmlformats.org/presentationml/2006/ole">
            <mc:AlternateContent xmlns:mc="http://schemas.openxmlformats.org/markup-compatibility/2006">
              <mc:Choice xmlns:v="urn:schemas-microsoft-com:vml" Requires="v">
                <p:oleObj name="think-cell Folie" r:id="rId12" imgW="270" imgH="270" progId="TCLayout.ActiveDocument.1">
                  <p:embed/>
                </p:oleObj>
              </mc:Choice>
              <mc:Fallback>
                <p:oleObj name="think-cell Folie" r:id="rId12" imgW="270" imgH="270" progId="TCLayout.ActiveDocument.1">
                  <p:embed/>
                  <p:pic>
                    <p:nvPicPr>
                      <p:cNvPr id="2" name="Objekt 1" hidden="1"/>
                      <p:cNvPicPr/>
                      <p:nvPr/>
                    </p:nvPicPr>
                    <p:blipFill>
                      <a:blip r:embed="rId13"/>
                      <a:stretch>
                        <a:fillRect/>
                      </a:stretch>
                    </p:blipFill>
                    <p:spPr>
                      <a:xfrm>
                        <a:off x="1588" y="1589"/>
                        <a:ext cx="1586"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F6BD7FB-441C-4306-A8C6-B9B9214E8FAE}"/>
              </a:ext>
            </a:extLst>
          </p:cNvPr>
          <p:cNvSpPr/>
          <p:nvPr>
            <p:custDataLst>
              <p:tags r:id="rId11"/>
            </p:custDataLst>
          </p:nvPr>
        </p:nvSpPr>
        <p:spPr>
          <a:xfrm>
            <a:off x="0" y="0"/>
            <a:ext cx="158667" cy="15875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de-DE" sz="2399" b="0" i="0" baseline="0">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extplatzhalter 2"/>
          <p:cNvSpPr>
            <a:spLocks noGrp="1"/>
          </p:cNvSpPr>
          <p:nvPr>
            <p:ph type="body" idx="1"/>
          </p:nvPr>
        </p:nvSpPr>
        <p:spPr>
          <a:xfrm>
            <a:off x="339549" y="1701801"/>
            <a:ext cx="11512903" cy="4535489"/>
          </a:xfrm>
          <a:prstGeom prst="rect">
            <a:avLst/>
          </a:prstGeom>
        </p:spPr>
        <p:txBody>
          <a:bodyPr vert="horz" wrap="square" lIns="0" tIns="0" rIns="0" bIns="0" rtlCol="0">
            <a:noAutofit/>
          </a:bodyPr>
          <a:lstStyle/>
          <a:p>
            <a:pPr lvl="0"/>
            <a:r>
              <a:rPr lang="de-DE"/>
              <a:t>Edit text master format</a:t>
            </a:r>
          </a:p>
          <a:p>
            <a:pPr lvl="1"/>
            <a:r>
              <a:rPr lang="de-DE"/>
              <a:t>Second level</a:t>
            </a:r>
          </a:p>
          <a:p>
            <a:pPr lvl="2"/>
            <a:r>
              <a:rPr lang="de-DE"/>
              <a:t>Third level</a:t>
            </a:r>
          </a:p>
          <a:p>
            <a:pPr lvl="3"/>
            <a:r>
              <a:rPr lang="de-DE"/>
              <a:t>Fourth level</a:t>
            </a:r>
          </a:p>
          <a:p>
            <a:pPr lvl="4"/>
            <a:r>
              <a:rPr lang="de-DE"/>
              <a:t>Fifth level</a:t>
            </a:r>
          </a:p>
        </p:txBody>
      </p:sp>
      <p:sp>
        <p:nvSpPr>
          <p:cNvPr id="12" name="Titelplatzhalter 11"/>
          <p:cNvSpPr>
            <a:spLocks noGrp="1"/>
          </p:cNvSpPr>
          <p:nvPr>
            <p:ph type="title"/>
          </p:nvPr>
        </p:nvSpPr>
        <p:spPr>
          <a:xfrm>
            <a:off x="339548" y="730250"/>
            <a:ext cx="11512904" cy="369332"/>
          </a:xfrm>
          <a:prstGeom prst="rect">
            <a:avLst/>
          </a:prstGeom>
        </p:spPr>
        <p:txBody>
          <a:bodyPr vert="horz" wrap="square" lIns="0" tIns="0" rIns="0" bIns="0" rtlCol="0" anchor="t">
            <a:noAutofit/>
          </a:bodyPr>
          <a:lstStyle/>
          <a:p>
            <a:r>
              <a:rPr lang="de-DE"/>
              <a:t>Edit title master format by clicking</a:t>
            </a:r>
          </a:p>
        </p:txBody>
      </p:sp>
      <p:cxnSp>
        <p:nvCxnSpPr>
          <p:cNvPr id="5" name="Gerade Verbindung 4"/>
          <p:cNvCxnSpPr/>
          <p:nvPr/>
        </p:nvCxnSpPr>
        <p:spPr>
          <a:xfrm flipH="1">
            <a:off x="-568474" y="205581"/>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H="1">
            <a:off x="-568474" y="7286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p:nvCxnSpPr>
        <p:spPr>
          <a:xfrm flipH="1">
            <a:off x="-568474" y="1698625"/>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a:off x="-568474" y="6237288"/>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flipH="1">
            <a:off x="-568474" y="66341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flipH="1">
            <a:off x="12397621" y="205581"/>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flipH="1">
            <a:off x="12397621" y="7286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flipH="1">
            <a:off x="12397621" y="1698625"/>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flipH="1">
            <a:off x="12397621" y="6237288"/>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flipH="1">
            <a:off x="12397621" y="6634163"/>
            <a:ext cx="338667"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a:xfrm rot="5400000" flipH="1">
            <a:off x="214377"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rot="5400000" flipH="1">
            <a:off x="3916912"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H="1">
            <a:off x="5859994"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p:nvCxnSpPr>
        <p:spPr>
          <a:xfrm rot="5400000" flipH="1">
            <a:off x="6072718"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p:nvCxnSpPr>
        <p:spPr>
          <a:xfrm rot="5400000" flipH="1">
            <a:off x="11722279"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rot="5400000" flipH="1">
            <a:off x="214377"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rot="5400000" flipH="1">
            <a:off x="11722279"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rot="5400000" flipH="1">
            <a:off x="4131753"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a:xfrm rot="5400000" flipH="1">
            <a:off x="7818946"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a:xfrm rot="5400000" flipH="1">
            <a:off x="8033791" y="-231752"/>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a:xfrm rot="5400000" flipH="1">
            <a:off x="3916912"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a:xfrm rot="5400000" flipH="1">
            <a:off x="5859994"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rot="5400000" flipH="1">
            <a:off x="6072718"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rot="5400000" flipH="1">
            <a:off x="4131753"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rot="5400000" flipH="1">
            <a:off x="7818946"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p:nvCxnSpPr>
        <p:spPr>
          <a:xfrm rot="5400000" flipH="1">
            <a:off x="8033791" y="7126991"/>
            <a:ext cx="254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42" name="Gruppieren 41"/>
          <p:cNvGrpSpPr/>
          <p:nvPr/>
        </p:nvGrpSpPr>
        <p:grpSpPr>
          <a:xfrm>
            <a:off x="11078154" y="6408739"/>
            <a:ext cx="774298" cy="265113"/>
            <a:chOff x="8015288" y="6408738"/>
            <a:chExt cx="774701" cy="265113"/>
          </a:xfrm>
        </p:grpSpPr>
        <p:sp>
          <p:nvSpPr>
            <p:cNvPr id="43" name="Freeform 6"/>
            <p:cNvSpPr>
              <a:spLocks/>
            </p:cNvSpPr>
            <p:nvPr userDrawn="1"/>
          </p:nvSpPr>
          <p:spPr bwMode="auto">
            <a:xfrm>
              <a:off x="8435976" y="6408738"/>
              <a:ext cx="190500" cy="265113"/>
            </a:xfrm>
            <a:custGeom>
              <a:avLst/>
              <a:gdLst>
                <a:gd name="T0" fmla="*/ 618 w 836"/>
                <a:gd name="T1" fmla="*/ 0 h 1167"/>
                <a:gd name="T2" fmla="*/ 836 w 836"/>
                <a:gd name="T3" fmla="*/ 0 h 1167"/>
                <a:gd name="T4" fmla="*/ 220 w 836"/>
                <a:gd name="T5" fmla="*/ 1167 h 1167"/>
                <a:gd name="T6" fmla="*/ 0 w 836"/>
                <a:gd name="T7" fmla="*/ 1167 h 1167"/>
                <a:gd name="T8" fmla="*/ 618 w 836"/>
                <a:gd name="T9" fmla="*/ 0 h 1167"/>
              </a:gdLst>
              <a:ahLst/>
              <a:cxnLst>
                <a:cxn ang="0">
                  <a:pos x="T0" y="T1"/>
                </a:cxn>
                <a:cxn ang="0">
                  <a:pos x="T2" y="T3"/>
                </a:cxn>
                <a:cxn ang="0">
                  <a:pos x="T4" y="T5"/>
                </a:cxn>
                <a:cxn ang="0">
                  <a:pos x="T6" y="T7"/>
                </a:cxn>
                <a:cxn ang="0">
                  <a:pos x="T8" y="T9"/>
                </a:cxn>
              </a:cxnLst>
              <a:rect l="0" t="0" r="r" b="b"/>
              <a:pathLst>
                <a:path w="836" h="1167">
                  <a:moveTo>
                    <a:pt x="618" y="0"/>
                  </a:moveTo>
                  <a:lnTo>
                    <a:pt x="836" y="0"/>
                  </a:lnTo>
                  <a:lnTo>
                    <a:pt x="220" y="1167"/>
                  </a:lnTo>
                  <a:lnTo>
                    <a:pt x="0" y="1167"/>
                  </a:lnTo>
                  <a:lnTo>
                    <a:pt x="618"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5" name="Freeform 7"/>
            <p:cNvSpPr>
              <a:spLocks/>
            </p:cNvSpPr>
            <p:nvPr userDrawn="1"/>
          </p:nvSpPr>
          <p:spPr bwMode="auto">
            <a:xfrm>
              <a:off x="8355013" y="6408738"/>
              <a:ext cx="188913" cy="265113"/>
            </a:xfrm>
            <a:custGeom>
              <a:avLst/>
              <a:gdLst>
                <a:gd name="T0" fmla="*/ 618 w 837"/>
                <a:gd name="T1" fmla="*/ 0 h 1167"/>
                <a:gd name="T2" fmla="*/ 837 w 837"/>
                <a:gd name="T3" fmla="*/ 0 h 1167"/>
                <a:gd name="T4" fmla="*/ 219 w 837"/>
                <a:gd name="T5" fmla="*/ 1167 h 1167"/>
                <a:gd name="T6" fmla="*/ 0 w 837"/>
                <a:gd name="T7" fmla="*/ 1167 h 1167"/>
                <a:gd name="T8" fmla="*/ 618 w 837"/>
                <a:gd name="T9" fmla="*/ 0 h 1167"/>
              </a:gdLst>
              <a:ahLst/>
              <a:cxnLst>
                <a:cxn ang="0">
                  <a:pos x="T0" y="T1"/>
                </a:cxn>
                <a:cxn ang="0">
                  <a:pos x="T2" y="T3"/>
                </a:cxn>
                <a:cxn ang="0">
                  <a:pos x="T4" y="T5"/>
                </a:cxn>
                <a:cxn ang="0">
                  <a:pos x="T6" y="T7"/>
                </a:cxn>
                <a:cxn ang="0">
                  <a:pos x="T8" y="T9"/>
                </a:cxn>
              </a:cxnLst>
              <a:rect l="0" t="0" r="r" b="b"/>
              <a:pathLst>
                <a:path w="837" h="1167">
                  <a:moveTo>
                    <a:pt x="618" y="0"/>
                  </a:moveTo>
                  <a:lnTo>
                    <a:pt x="837" y="0"/>
                  </a:lnTo>
                  <a:lnTo>
                    <a:pt x="219" y="1167"/>
                  </a:lnTo>
                  <a:lnTo>
                    <a:pt x="0" y="1167"/>
                  </a:lnTo>
                  <a:lnTo>
                    <a:pt x="618"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6" name="Freeform 8"/>
            <p:cNvSpPr>
              <a:spLocks/>
            </p:cNvSpPr>
            <p:nvPr userDrawn="1"/>
          </p:nvSpPr>
          <p:spPr bwMode="auto">
            <a:xfrm>
              <a:off x="8193088" y="6450013"/>
              <a:ext cx="247650" cy="182563"/>
            </a:xfrm>
            <a:custGeom>
              <a:avLst/>
              <a:gdLst>
                <a:gd name="T0" fmla="*/ 0 w 1098"/>
                <a:gd name="T1" fmla="*/ 0 h 809"/>
                <a:gd name="T2" fmla="*/ 200 w 1098"/>
                <a:gd name="T3" fmla="*/ 0 h 809"/>
                <a:gd name="T4" fmla="*/ 200 w 1098"/>
                <a:gd name="T5" fmla="*/ 431 h 809"/>
                <a:gd name="T6" fmla="*/ 446 w 1098"/>
                <a:gd name="T7" fmla="*/ 0 h 809"/>
                <a:gd name="T8" fmla="*/ 664 w 1098"/>
                <a:gd name="T9" fmla="*/ 0 h 809"/>
                <a:gd name="T10" fmla="*/ 664 w 1098"/>
                <a:gd name="T11" fmla="*/ 439 h 809"/>
                <a:gd name="T12" fmla="*/ 905 w 1098"/>
                <a:gd name="T13" fmla="*/ 0 h 809"/>
                <a:gd name="T14" fmla="*/ 1098 w 1098"/>
                <a:gd name="T15" fmla="*/ 0 h 809"/>
                <a:gd name="T16" fmla="*/ 667 w 1098"/>
                <a:gd name="T17" fmla="*/ 809 h 809"/>
                <a:gd name="T18" fmla="*/ 460 w 1098"/>
                <a:gd name="T19" fmla="*/ 809 h 809"/>
                <a:gd name="T20" fmla="*/ 460 w 1098"/>
                <a:gd name="T21" fmla="*/ 342 h 809"/>
                <a:gd name="T22" fmla="*/ 200 w 1098"/>
                <a:gd name="T23" fmla="*/ 809 h 809"/>
                <a:gd name="T24" fmla="*/ 0 w 1098"/>
                <a:gd name="T25" fmla="*/ 809 h 809"/>
                <a:gd name="T26" fmla="*/ 0 w 1098"/>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8" h="809">
                  <a:moveTo>
                    <a:pt x="0" y="0"/>
                  </a:moveTo>
                  <a:lnTo>
                    <a:pt x="200" y="0"/>
                  </a:lnTo>
                  <a:lnTo>
                    <a:pt x="200" y="431"/>
                  </a:lnTo>
                  <a:lnTo>
                    <a:pt x="446" y="0"/>
                  </a:lnTo>
                  <a:lnTo>
                    <a:pt x="664" y="0"/>
                  </a:lnTo>
                  <a:lnTo>
                    <a:pt x="664" y="439"/>
                  </a:lnTo>
                  <a:lnTo>
                    <a:pt x="905" y="0"/>
                  </a:lnTo>
                  <a:lnTo>
                    <a:pt x="1098" y="0"/>
                  </a:lnTo>
                  <a:lnTo>
                    <a:pt x="667" y="809"/>
                  </a:lnTo>
                  <a:lnTo>
                    <a:pt x="460" y="809"/>
                  </a:lnTo>
                  <a:lnTo>
                    <a:pt x="460" y="342"/>
                  </a:lnTo>
                  <a:lnTo>
                    <a:pt x="200" y="809"/>
                  </a:lnTo>
                  <a:lnTo>
                    <a:pt x="0" y="809"/>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7" name="Freeform 9"/>
            <p:cNvSpPr>
              <a:spLocks/>
            </p:cNvSpPr>
            <p:nvPr userDrawn="1"/>
          </p:nvSpPr>
          <p:spPr bwMode="auto">
            <a:xfrm>
              <a:off x="8540751" y="6450013"/>
              <a:ext cx="249238" cy="182563"/>
            </a:xfrm>
            <a:custGeom>
              <a:avLst/>
              <a:gdLst>
                <a:gd name="T0" fmla="*/ 428 w 1100"/>
                <a:gd name="T1" fmla="*/ 0 h 809"/>
                <a:gd name="T2" fmla="*/ 642 w 1100"/>
                <a:gd name="T3" fmla="*/ 0 h 809"/>
                <a:gd name="T4" fmla="*/ 642 w 1100"/>
                <a:gd name="T5" fmla="*/ 467 h 809"/>
                <a:gd name="T6" fmla="*/ 897 w 1100"/>
                <a:gd name="T7" fmla="*/ 0 h 809"/>
                <a:gd name="T8" fmla="*/ 1100 w 1100"/>
                <a:gd name="T9" fmla="*/ 0 h 809"/>
                <a:gd name="T10" fmla="*/ 1100 w 1100"/>
                <a:gd name="T11" fmla="*/ 809 h 809"/>
                <a:gd name="T12" fmla="*/ 897 w 1100"/>
                <a:gd name="T13" fmla="*/ 809 h 809"/>
                <a:gd name="T14" fmla="*/ 897 w 1100"/>
                <a:gd name="T15" fmla="*/ 378 h 809"/>
                <a:gd name="T16" fmla="*/ 642 w 1100"/>
                <a:gd name="T17" fmla="*/ 809 h 809"/>
                <a:gd name="T18" fmla="*/ 433 w 1100"/>
                <a:gd name="T19" fmla="*/ 809 h 809"/>
                <a:gd name="T20" fmla="*/ 433 w 1100"/>
                <a:gd name="T21" fmla="*/ 376 h 809"/>
                <a:gd name="T22" fmla="*/ 194 w 1100"/>
                <a:gd name="T23" fmla="*/ 809 h 809"/>
                <a:gd name="T24" fmla="*/ 0 w 1100"/>
                <a:gd name="T25" fmla="*/ 809 h 809"/>
                <a:gd name="T26" fmla="*/ 428 w 1100"/>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0" h="809">
                  <a:moveTo>
                    <a:pt x="428" y="0"/>
                  </a:moveTo>
                  <a:lnTo>
                    <a:pt x="642" y="0"/>
                  </a:lnTo>
                  <a:lnTo>
                    <a:pt x="642" y="467"/>
                  </a:lnTo>
                  <a:lnTo>
                    <a:pt x="897" y="0"/>
                  </a:lnTo>
                  <a:lnTo>
                    <a:pt x="1100" y="0"/>
                  </a:lnTo>
                  <a:lnTo>
                    <a:pt x="1100" y="809"/>
                  </a:lnTo>
                  <a:lnTo>
                    <a:pt x="897" y="809"/>
                  </a:lnTo>
                  <a:lnTo>
                    <a:pt x="897" y="378"/>
                  </a:lnTo>
                  <a:lnTo>
                    <a:pt x="642" y="809"/>
                  </a:lnTo>
                  <a:lnTo>
                    <a:pt x="433" y="809"/>
                  </a:lnTo>
                  <a:lnTo>
                    <a:pt x="433" y="376"/>
                  </a:lnTo>
                  <a:lnTo>
                    <a:pt x="194" y="809"/>
                  </a:lnTo>
                  <a:lnTo>
                    <a:pt x="0" y="809"/>
                  </a:lnTo>
                  <a:lnTo>
                    <a:pt x="42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sp>
          <p:nvSpPr>
            <p:cNvPr id="48" name="Freeform 10"/>
            <p:cNvSpPr>
              <a:spLocks/>
            </p:cNvSpPr>
            <p:nvPr userDrawn="1"/>
          </p:nvSpPr>
          <p:spPr bwMode="auto">
            <a:xfrm>
              <a:off x="8015288" y="6442075"/>
              <a:ext cx="155575" cy="195263"/>
            </a:xfrm>
            <a:custGeom>
              <a:avLst/>
              <a:gdLst>
                <a:gd name="T0" fmla="*/ 432 w 688"/>
                <a:gd name="T1" fmla="*/ 8 h 862"/>
                <a:gd name="T2" fmla="*/ 542 w 688"/>
                <a:gd name="T3" fmla="*/ 51 h 862"/>
                <a:gd name="T4" fmla="*/ 623 w 688"/>
                <a:gd name="T5" fmla="*/ 122 h 862"/>
                <a:gd name="T6" fmla="*/ 665 w 688"/>
                <a:gd name="T7" fmla="*/ 214 h 862"/>
                <a:gd name="T8" fmla="*/ 459 w 688"/>
                <a:gd name="T9" fmla="*/ 271 h 862"/>
                <a:gd name="T10" fmla="*/ 447 w 688"/>
                <a:gd name="T11" fmla="*/ 218 h 862"/>
                <a:gd name="T12" fmla="*/ 396 w 688"/>
                <a:gd name="T13" fmla="*/ 181 h 862"/>
                <a:gd name="T14" fmla="*/ 333 w 688"/>
                <a:gd name="T15" fmla="*/ 173 h 862"/>
                <a:gd name="T16" fmla="*/ 271 w 688"/>
                <a:gd name="T17" fmla="*/ 186 h 862"/>
                <a:gd name="T18" fmla="*/ 237 w 688"/>
                <a:gd name="T19" fmla="*/ 217 h 862"/>
                <a:gd name="T20" fmla="*/ 238 w 688"/>
                <a:gd name="T21" fmla="*/ 256 h 862"/>
                <a:gd name="T22" fmla="*/ 284 w 688"/>
                <a:gd name="T23" fmla="*/ 295 h 862"/>
                <a:gd name="T24" fmla="*/ 332 w 688"/>
                <a:gd name="T25" fmla="*/ 313 h 862"/>
                <a:gd name="T26" fmla="*/ 388 w 688"/>
                <a:gd name="T27" fmla="*/ 329 h 862"/>
                <a:gd name="T28" fmla="*/ 444 w 688"/>
                <a:gd name="T29" fmla="*/ 346 h 862"/>
                <a:gd name="T30" fmla="*/ 498 w 688"/>
                <a:gd name="T31" fmla="*/ 365 h 862"/>
                <a:gd name="T32" fmla="*/ 544 w 688"/>
                <a:gd name="T33" fmla="*/ 384 h 862"/>
                <a:gd name="T34" fmla="*/ 566 w 688"/>
                <a:gd name="T35" fmla="*/ 394 h 862"/>
                <a:gd name="T36" fmla="*/ 643 w 688"/>
                <a:gd name="T37" fmla="*/ 453 h 862"/>
                <a:gd name="T38" fmla="*/ 685 w 688"/>
                <a:gd name="T39" fmla="*/ 537 h 862"/>
                <a:gd name="T40" fmla="*/ 684 w 688"/>
                <a:gd name="T41" fmla="*/ 646 h 862"/>
                <a:gd name="T42" fmla="*/ 643 w 688"/>
                <a:gd name="T43" fmla="*/ 744 h 862"/>
                <a:gd name="T44" fmla="*/ 562 w 688"/>
                <a:gd name="T45" fmla="*/ 814 h 862"/>
                <a:gd name="T46" fmla="*/ 443 w 688"/>
                <a:gd name="T47" fmla="*/ 854 h 862"/>
                <a:gd name="T48" fmla="*/ 293 w 688"/>
                <a:gd name="T49" fmla="*/ 859 h 862"/>
                <a:gd name="T50" fmla="*/ 165 w 688"/>
                <a:gd name="T51" fmla="*/ 831 h 862"/>
                <a:gd name="T52" fmla="*/ 73 w 688"/>
                <a:gd name="T53" fmla="*/ 772 h 862"/>
                <a:gd name="T54" fmla="*/ 19 w 688"/>
                <a:gd name="T55" fmla="*/ 683 h 862"/>
                <a:gd name="T56" fmla="*/ 0 w 688"/>
                <a:gd name="T57" fmla="*/ 566 h 862"/>
                <a:gd name="T58" fmla="*/ 219 w 688"/>
                <a:gd name="T59" fmla="*/ 620 h 862"/>
                <a:gd name="T60" fmla="*/ 268 w 688"/>
                <a:gd name="T61" fmla="*/ 681 h 862"/>
                <a:gd name="T62" fmla="*/ 344 w 688"/>
                <a:gd name="T63" fmla="*/ 703 h 862"/>
                <a:gd name="T64" fmla="*/ 420 w 688"/>
                <a:gd name="T65" fmla="*/ 689 h 862"/>
                <a:gd name="T66" fmla="*/ 469 w 688"/>
                <a:gd name="T67" fmla="*/ 651 h 862"/>
                <a:gd name="T68" fmla="*/ 479 w 688"/>
                <a:gd name="T69" fmla="*/ 604 h 862"/>
                <a:gd name="T70" fmla="*/ 460 w 688"/>
                <a:gd name="T71" fmla="*/ 567 h 862"/>
                <a:gd name="T72" fmla="*/ 403 w 688"/>
                <a:gd name="T73" fmla="*/ 539 h 862"/>
                <a:gd name="T74" fmla="*/ 383 w 688"/>
                <a:gd name="T75" fmla="*/ 532 h 862"/>
                <a:gd name="T76" fmla="*/ 342 w 688"/>
                <a:gd name="T77" fmla="*/ 519 h 862"/>
                <a:gd name="T78" fmla="*/ 285 w 688"/>
                <a:gd name="T79" fmla="*/ 503 h 862"/>
                <a:gd name="T80" fmla="*/ 220 w 688"/>
                <a:gd name="T81" fmla="*/ 484 h 862"/>
                <a:gd name="T82" fmla="*/ 171 w 688"/>
                <a:gd name="T83" fmla="*/ 464 h 862"/>
                <a:gd name="T84" fmla="*/ 89 w 688"/>
                <a:gd name="T85" fmla="*/ 409 h 862"/>
                <a:gd name="T86" fmla="*/ 34 w 688"/>
                <a:gd name="T87" fmla="*/ 318 h 862"/>
                <a:gd name="T88" fmla="*/ 28 w 688"/>
                <a:gd name="T89" fmla="*/ 213 h 862"/>
                <a:gd name="T90" fmla="*/ 67 w 688"/>
                <a:gd name="T91" fmla="*/ 121 h 862"/>
                <a:gd name="T92" fmla="*/ 149 w 688"/>
                <a:gd name="T93" fmla="*/ 50 h 862"/>
                <a:gd name="T94" fmla="*/ 261 w 688"/>
                <a:gd name="T95" fmla="*/ 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8" h="862">
                  <a:moveTo>
                    <a:pt x="347" y="0"/>
                  </a:moveTo>
                  <a:lnTo>
                    <a:pt x="390" y="2"/>
                  </a:lnTo>
                  <a:lnTo>
                    <a:pt x="432" y="8"/>
                  </a:lnTo>
                  <a:lnTo>
                    <a:pt x="471" y="19"/>
                  </a:lnTo>
                  <a:lnTo>
                    <a:pt x="508" y="34"/>
                  </a:lnTo>
                  <a:lnTo>
                    <a:pt x="542" y="51"/>
                  </a:lnTo>
                  <a:lnTo>
                    <a:pt x="573" y="73"/>
                  </a:lnTo>
                  <a:lnTo>
                    <a:pt x="600" y="97"/>
                  </a:lnTo>
                  <a:lnTo>
                    <a:pt x="623" y="122"/>
                  </a:lnTo>
                  <a:lnTo>
                    <a:pt x="642" y="151"/>
                  </a:lnTo>
                  <a:lnTo>
                    <a:pt x="655" y="182"/>
                  </a:lnTo>
                  <a:lnTo>
                    <a:pt x="665" y="214"/>
                  </a:lnTo>
                  <a:lnTo>
                    <a:pt x="667" y="248"/>
                  </a:lnTo>
                  <a:lnTo>
                    <a:pt x="667" y="271"/>
                  </a:lnTo>
                  <a:lnTo>
                    <a:pt x="459" y="271"/>
                  </a:lnTo>
                  <a:lnTo>
                    <a:pt x="459" y="255"/>
                  </a:lnTo>
                  <a:lnTo>
                    <a:pt x="455" y="235"/>
                  </a:lnTo>
                  <a:lnTo>
                    <a:pt x="447" y="218"/>
                  </a:lnTo>
                  <a:lnTo>
                    <a:pt x="434" y="203"/>
                  </a:lnTo>
                  <a:lnTo>
                    <a:pt x="417" y="190"/>
                  </a:lnTo>
                  <a:lnTo>
                    <a:pt x="396" y="181"/>
                  </a:lnTo>
                  <a:lnTo>
                    <a:pt x="373" y="174"/>
                  </a:lnTo>
                  <a:lnTo>
                    <a:pt x="347" y="172"/>
                  </a:lnTo>
                  <a:lnTo>
                    <a:pt x="333" y="173"/>
                  </a:lnTo>
                  <a:lnTo>
                    <a:pt x="311" y="174"/>
                  </a:lnTo>
                  <a:lnTo>
                    <a:pt x="290" y="178"/>
                  </a:lnTo>
                  <a:lnTo>
                    <a:pt x="271" y="186"/>
                  </a:lnTo>
                  <a:lnTo>
                    <a:pt x="257" y="195"/>
                  </a:lnTo>
                  <a:lnTo>
                    <a:pt x="245" y="205"/>
                  </a:lnTo>
                  <a:lnTo>
                    <a:pt x="237" y="217"/>
                  </a:lnTo>
                  <a:lnTo>
                    <a:pt x="235" y="230"/>
                  </a:lnTo>
                  <a:lnTo>
                    <a:pt x="235" y="239"/>
                  </a:lnTo>
                  <a:lnTo>
                    <a:pt x="238" y="256"/>
                  </a:lnTo>
                  <a:lnTo>
                    <a:pt x="248" y="271"/>
                  </a:lnTo>
                  <a:lnTo>
                    <a:pt x="263" y="284"/>
                  </a:lnTo>
                  <a:lnTo>
                    <a:pt x="284" y="295"/>
                  </a:lnTo>
                  <a:lnTo>
                    <a:pt x="301" y="302"/>
                  </a:lnTo>
                  <a:lnTo>
                    <a:pt x="318" y="309"/>
                  </a:lnTo>
                  <a:lnTo>
                    <a:pt x="332" y="313"/>
                  </a:lnTo>
                  <a:lnTo>
                    <a:pt x="349" y="318"/>
                  </a:lnTo>
                  <a:lnTo>
                    <a:pt x="367" y="324"/>
                  </a:lnTo>
                  <a:lnTo>
                    <a:pt x="388" y="329"/>
                  </a:lnTo>
                  <a:lnTo>
                    <a:pt x="408" y="334"/>
                  </a:lnTo>
                  <a:lnTo>
                    <a:pt x="425" y="340"/>
                  </a:lnTo>
                  <a:lnTo>
                    <a:pt x="444" y="346"/>
                  </a:lnTo>
                  <a:lnTo>
                    <a:pt x="465" y="353"/>
                  </a:lnTo>
                  <a:lnTo>
                    <a:pt x="480" y="359"/>
                  </a:lnTo>
                  <a:lnTo>
                    <a:pt x="498" y="365"/>
                  </a:lnTo>
                  <a:lnTo>
                    <a:pt x="514" y="372"/>
                  </a:lnTo>
                  <a:lnTo>
                    <a:pt x="530" y="379"/>
                  </a:lnTo>
                  <a:lnTo>
                    <a:pt x="544" y="384"/>
                  </a:lnTo>
                  <a:lnTo>
                    <a:pt x="556" y="389"/>
                  </a:lnTo>
                  <a:lnTo>
                    <a:pt x="563" y="391"/>
                  </a:lnTo>
                  <a:lnTo>
                    <a:pt x="566" y="394"/>
                  </a:lnTo>
                  <a:lnTo>
                    <a:pt x="594" y="409"/>
                  </a:lnTo>
                  <a:lnTo>
                    <a:pt x="620" y="429"/>
                  </a:lnTo>
                  <a:lnTo>
                    <a:pt x="643" y="453"/>
                  </a:lnTo>
                  <a:lnTo>
                    <a:pt x="662" y="479"/>
                  </a:lnTo>
                  <a:lnTo>
                    <a:pt x="676" y="508"/>
                  </a:lnTo>
                  <a:lnTo>
                    <a:pt x="685" y="537"/>
                  </a:lnTo>
                  <a:lnTo>
                    <a:pt x="688" y="567"/>
                  </a:lnTo>
                  <a:lnTo>
                    <a:pt x="688" y="608"/>
                  </a:lnTo>
                  <a:lnTo>
                    <a:pt x="684" y="646"/>
                  </a:lnTo>
                  <a:lnTo>
                    <a:pt x="675" y="682"/>
                  </a:lnTo>
                  <a:lnTo>
                    <a:pt x="661" y="714"/>
                  </a:lnTo>
                  <a:lnTo>
                    <a:pt x="643" y="744"/>
                  </a:lnTo>
                  <a:lnTo>
                    <a:pt x="620" y="771"/>
                  </a:lnTo>
                  <a:lnTo>
                    <a:pt x="593" y="794"/>
                  </a:lnTo>
                  <a:lnTo>
                    <a:pt x="562" y="814"/>
                  </a:lnTo>
                  <a:lnTo>
                    <a:pt x="527" y="831"/>
                  </a:lnTo>
                  <a:lnTo>
                    <a:pt x="488" y="844"/>
                  </a:lnTo>
                  <a:lnTo>
                    <a:pt x="443" y="854"/>
                  </a:lnTo>
                  <a:lnTo>
                    <a:pt x="396" y="859"/>
                  </a:lnTo>
                  <a:lnTo>
                    <a:pt x="345" y="862"/>
                  </a:lnTo>
                  <a:lnTo>
                    <a:pt x="293" y="859"/>
                  </a:lnTo>
                  <a:lnTo>
                    <a:pt x="246" y="854"/>
                  </a:lnTo>
                  <a:lnTo>
                    <a:pt x="203" y="844"/>
                  </a:lnTo>
                  <a:lnTo>
                    <a:pt x="165" y="831"/>
                  </a:lnTo>
                  <a:lnTo>
                    <a:pt x="130" y="815"/>
                  </a:lnTo>
                  <a:lnTo>
                    <a:pt x="99" y="795"/>
                  </a:lnTo>
                  <a:lnTo>
                    <a:pt x="73" y="772"/>
                  </a:lnTo>
                  <a:lnTo>
                    <a:pt x="51" y="745"/>
                  </a:lnTo>
                  <a:lnTo>
                    <a:pt x="32" y="715"/>
                  </a:lnTo>
                  <a:lnTo>
                    <a:pt x="19" y="683"/>
                  </a:lnTo>
                  <a:lnTo>
                    <a:pt x="8" y="646"/>
                  </a:lnTo>
                  <a:lnTo>
                    <a:pt x="2" y="608"/>
                  </a:lnTo>
                  <a:lnTo>
                    <a:pt x="0" y="566"/>
                  </a:lnTo>
                  <a:lnTo>
                    <a:pt x="208" y="566"/>
                  </a:lnTo>
                  <a:lnTo>
                    <a:pt x="211" y="594"/>
                  </a:lnTo>
                  <a:lnTo>
                    <a:pt x="219" y="620"/>
                  </a:lnTo>
                  <a:lnTo>
                    <a:pt x="232" y="643"/>
                  </a:lnTo>
                  <a:lnTo>
                    <a:pt x="248" y="664"/>
                  </a:lnTo>
                  <a:lnTo>
                    <a:pt x="268" y="681"/>
                  </a:lnTo>
                  <a:lnTo>
                    <a:pt x="292" y="693"/>
                  </a:lnTo>
                  <a:lnTo>
                    <a:pt x="317" y="701"/>
                  </a:lnTo>
                  <a:lnTo>
                    <a:pt x="344" y="703"/>
                  </a:lnTo>
                  <a:lnTo>
                    <a:pt x="372" y="702"/>
                  </a:lnTo>
                  <a:lnTo>
                    <a:pt x="396" y="697"/>
                  </a:lnTo>
                  <a:lnTo>
                    <a:pt x="420" y="689"/>
                  </a:lnTo>
                  <a:lnTo>
                    <a:pt x="440" y="679"/>
                  </a:lnTo>
                  <a:lnTo>
                    <a:pt x="457" y="666"/>
                  </a:lnTo>
                  <a:lnTo>
                    <a:pt x="469" y="651"/>
                  </a:lnTo>
                  <a:lnTo>
                    <a:pt x="477" y="635"/>
                  </a:lnTo>
                  <a:lnTo>
                    <a:pt x="480" y="616"/>
                  </a:lnTo>
                  <a:lnTo>
                    <a:pt x="479" y="604"/>
                  </a:lnTo>
                  <a:lnTo>
                    <a:pt x="475" y="592"/>
                  </a:lnTo>
                  <a:lnTo>
                    <a:pt x="469" y="579"/>
                  </a:lnTo>
                  <a:lnTo>
                    <a:pt x="460" y="567"/>
                  </a:lnTo>
                  <a:lnTo>
                    <a:pt x="445" y="556"/>
                  </a:lnTo>
                  <a:lnTo>
                    <a:pt x="426" y="546"/>
                  </a:lnTo>
                  <a:lnTo>
                    <a:pt x="403" y="539"/>
                  </a:lnTo>
                  <a:lnTo>
                    <a:pt x="401" y="538"/>
                  </a:lnTo>
                  <a:lnTo>
                    <a:pt x="393" y="536"/>
                  </a:lnTo>
                  <a:lnTo>
                    <a:pt x="383" y="532"/>
                  </a:lnTo>
                  <a:lnTo>
                    <a:pt x="371" y="528"/>
                  </a:lnTo>
                  <a:lnTo>
                    <a:pt x="356" y="524"/>
                  </a:lnTo>
                  <a:lnTo>
                    <a:pt x="342" y="519"/>
                  </a:lnTo>
                  <a:lnTo>
                    <a:pt x="329" y="515"/>
                  </a:lnTo>
                  <a:lnTo>
                    <a:pt x="305" y="509"/>
                  </a:lnTo>
                  <a:lnTo>
                    <a:pt x="285" y="503"/>
                  </a:lnTo>
                  <a:lnTo>
                    <a:pt x="265" y="498"/>
                  </a:lnTo>
                  <a:lnTo>
                    <a:pt x="244" y="491"/>
                  </a:lnTo>
                  <a:lnTo>
                    <a:pt x="220" y="484"/>
                  </a:lnTo>
                  <a:lnTo>
                    <a:pt x="203" y="476"/>
                  </a:lnTo>
                  <a:lnTo>
                    <a:pt x="186" y="470"/>
                  </a:lnTo>
                  <a:lnTo>
                    <a:pt x="171" y="464"/>
                  </a:lnTo>
                  <a:lnTo>
                    <a:pt x="152" y="455"/>
                  </a:lnTo>
                  <a:lnTo>
                    <a:pt x="118" y="433"/>
                  </a:lnTo>
                  <a:lnTo>
                    <a:pt x="89" y="409"/>
                  </a:lnTo>
                  <a:lnTo>
                    <a:pt x="66" y="382"/>
                  </a:lnTo>
                  <a:lnTo>
                    <a:pt x="48" y="351"/>
                  </a:lnTo>
                  <a:lnTo>
                    <a:pt x="34" y="318"/>
                  </a:lnTo>
                  <a:lnTo>
                    <a:pt x="28" y="284"/>
                  </a:lnTo>
                  <a:lnTo>
                    <a:pt x="27" y="248"/>
                  </a:lnTo>
                  <a:lnTo>
                    <a:pt x="28" y="213"/>
                  </a:lnTo>
                  <a:lnTo>
                    <a:pt x="35" y="181"/>
                  </a:lnTo>
                  <a:lnTo>
                    <a:pt x="49" y="149"/>
                  </a:lnTo>
                  <a:lnTo>
                    <a:pt x="67" y="121"/>
                  </a:lnTo>
                  <a:lnTo>
                    <a:pt x="90" y="94"/>
                  </a:lnTo>
                  <a:lnTo>
                    <a:pt x="118" y="71"/>
                  </a:lnTo>
                  <a:lnTo>
                    <a:pt x="149" y="50"/>
                  </a:lnTo>
                  <a:lnTo>
                    <a:pt x="183" y="33"/>
                  </a:lnTo>
                  <a:lnTo>
                    <a:pt x="222" y="19"/>
                  </a:lnTo>
                  <a:lnTo>
                    <a:pt x="261" y="8"/>
                  </a:lnTo>
                  <a:lnTo>
                    <a:pt x="303" y="2"/>
                  </a:lnTo>
                  <a:lnTo>
                    <a:pt x="347"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sz="1799"/>
            </a:p>
          </p:txBody>
        </p:sp>
      </p:grpSp>
      <p:sp>
        <p:nvSpPr>
          <p:cNvPr id="44" name="Fußzeilenplatzhalter 1"/>
          <p:cNvSpPr>
            <a:spLocks noGrp="1"/>
          </p:cNvSpPr>
          <p:nvPr>
            <p:ph type="ftr" sz="quarter" idx="3"/>
          </p:nvPr>
        </p:nvSpPr>
        <p:spPr>
          <a:xfrm>
            <a:off x="1976292" y="6509589"/>
            <a:ext cx="5481070" cy="153888"/>
          </a:xfrm>
          <a:prstGeom prst="rect">
            <a:avLst/>
          </a:prstGeom>
          <a:noFill/>
        </p:spPr>
        <p:txBody>
          <a:bodyPr wrap="square" lIns="0" tIns="0" rIns="0" bIns="0" rtlCol="0">
            <a:noAutofit/>
          </a:bodyPr>
          <a:lstStyle>
            <a:lvl1pPr>
              <a:defRPr lang="de-DE" sz="999">
                <a:solidFill>
                  <a:srgbClr val="738792"/>
                </a:solidFill>
                <a:latin typeface="Arial" pitchFamily="34" charset="0"/>
                <a:cs typeface="Arial" pitchFamily="34" charset="0"/>
              </a:defRPr>
            </a:lvl1pPr>
          </a:lstStyle>
          <a:p>
            <a:r>
              <a:rPr lang="de-DE"/>
              <a:t>District heating transformation plan</a:t>
            </a:r>
          </a:p>
        </p:txBody>
      </p:sp>
      <p:sp>
        <p:nvSpPr>
          <p:cNvPr id="49" name="Datumsplatzhalter 5"/>
          <p:cNvSpPr>
            <a:spLocks noGrp="1"/>
          </p:cNvSpPr>
          <p:nvPr>
            <p:ph type="dt" sz="half" idx="2"/>
          </p:nvPr>
        </p:nvSpPr>
        <p:spPr>
          <a:xfrm>
            <a:off x="930223" y="6509589"/>
            <a:ext cx="1002346" cy="153888"/>
          </a:xfrm>
          <a:prstGeom prst="rect">
            <a:avLst/>
          </a:prstGeom>
          <a:noFill/>
        </p:spPr>
        <p:txBody>
          <a:bodyPr wrap="square" lIns="0" tIns="0" rIns="0" bIns="0" rtlCol="0">
            <a:noAutofit/>
          </a:bodyPr>
          <a:lstStyle>
            <a:lvl1pPr>
              <a:defRPr lang="en-US" sz="999" smtClean="0">
                <a:solidFill>
                  <a:srgbClr val="738792"/>
                </a:solidFill>
                <a:latin typeface="Arial" pitchFamily="34" charset="0"/>
                <a:cs typeface="Arial" pitchFamily="34" charset="0"/>
              </a:defRPr>
            </a:lvl1pPr>
          </a:lstStyle>
          <a:p>
            <a:r>
              <a:rPr lang="de-DE"/>
              <a:t>11.03.2024</a:t>
            </a:r>
          </a:p>
        </p:txBody>
      </p:sp>
      <p:sp>
        <p:nvSpPr>
          <p:cNvPr id="4" name="Foliennummernplatzhalter 3">
            <a:extLst>
              <a:ext uri="{FF2B5EF4-FFF2-40B4-BE49-F238E27FC236}">
                <a16:creationId xmlns:a16="http://schemas.microsoft.com/office/drawing/2014/main" id="{3EFD63D1-3B38-406F-A965-6A6DE30F2D64}"/>
              </a:ext>
            </a:extLst>
          </p:cNvPr>
          <p:cNvSpPr>
            <a:spLocks noGrp="1"/>
          </p:cNvSpPr>
          <p:nvPr>
            <p:ph type="sldNum" sz="quarter" idx="4"/>
          </p:nvPr>
        </p:nvSpPr>
        <p:spPr>
          <a:xfrm>
            <a:off x="344061" y="6509589"/>
            <a:ext cx="257950" cy="153888"/>
          </a:xfrm>
          <a:prstGeom prst="rect">
            <a:avLst/>
          </a:prstGeom>
          <a:noFill/>
        </p:spPr>
        <p:txBody>
          <a:bodyPr wrap="none" lIns="0" tIns="0" rIns="0" bIns="0" rtlCol="0">
            <a:noAutofit/>
          </a:bodyPr>
          <a:lstStyle>
            <a:lvl1pPr>
              <a:defRPr lang="de-DE" sz="999" smtClean="0">
                <a:solidFill>
                  <a:srgbClr val="738792"/>
                </a:solidFill>
                <a:latin typeface="Arial" pitchFamily="34" charset="0"/>
                <a:cs typeface="Arial" pitchFamily="34" charset="0"/>
              </a:defRPr>
            </a:lvl1pPr>
          </a:lstStyle>
          <a:p>
            <a:fld id="{7BA819CD-7F2C-4EE9-B3FF-8A96496FF90D}" type="slidenum">
              <a:rPr lang="de-DE" smtClean="0"/>
              <a:t>‹Nr.›</a:t>
            </a:fld>
            <a:endParaRPr lang="de-DE"/>
          </a:p>
        </p:txBody>
      </p:sp>
    </p:spTree>
    <p:custDataLst>
      <p:tags r:id="rId9"/>
    </p:custDataLst>
    <p:extLst>
      <p:ext uri="{BB962C8B-B14F-4D97-AF65-F5344CB8AC3E}">
        <p14:creationId xmlns:p14="http://schemas.microsoft.com/office/powerpoint/2010/main" val="104165992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Lst>
  <p:hf hdr="0"/>
  <p:txStyles>
    <p:titleStyle>
      <a:lvl1pPr marL="0" indent="0" algn="l" defTabSz="913943" rtl="0" eaLnBrk="1" latinLnBrk="0" hangingPunct="1">
        <a:spcBef>
          <a:spcPct val="0"/>
        </a:spcBef>
        <a:buNone/>
        <a:defRPr lang="de-DE" sz="2399" kern="1200" baseline="0" dirty="0">
          <a:solidFill>
            <a:schemeClr val="tx2"/>
          </a:solidFill>
          <a:latin typeface="Arial" pitchFamily="34" charset="0"/>
          <a:ea typeface="+mn-ea"/>
          <a:cs typeface="Arial"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7711" indent="-177711"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1pPr>
      <a:lvl2pPr marL="361769" indent="-180885" algn="l" defTabSz="913943" rtl="0" eaLnBrk="1" latinLnBrk="0" hangingPunct="1">
        <a:spcBef>
          <a:spcPts val="600"/>
        </a:spcBef>
        <a:buClr>
          <a:schemeClr val="tx2"/>
        </a:buClr>
        <a:buSzPct val="140000"/>
        <a:buFont typeface="Wingdings 3" pitchFamily="18" charset="2"/>
        <a:buChar char="ê"/>
        <a:tabLst>
          <a:tab pos="361769" algn="l"/>
        </a:tabLst>
        <a:defRPr sz="1799" kern="1200">
          <a:solidFill>
            <a:schemeClr val="tx1"/>
          </a:solidFill>
          <a:latin typeface="Arial" pitchFamily="34" charset="0"/>
          <a:ea typeface="+mn-ea"/>
          <a:cs typeface="Arial" pitchFamily="34" charset="0"/>
        </a:defRPr>
      </a:lvl2pPr>
      <a:lvl3pPr marL="534721" indent="-172951"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3pPr>
      <a:lvl4pPr marL="715605" indent="-180885"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4pPr>
      <a:lvl5pPr marL="896490" indent="-180885" algn="l" defTabSz="913943" rtl="0" eaLnBrk="1" latinLnBrk="0" hangingPunct="1">
        <a:spcBef>
          <a:spcPts val="600"/>
        </a:spcBef>
        <a:buClr>
          <a:schemeClr val="tx2"/>
        </a:buClr>
        <a:buSzPct val="140000"/>
        <a:buFont typeface="Wingdings 3" pitchFamily="18" charset="2"/>
        <a:buChar char="ê"/>
        <a:defRPr sz="1799" kern="1200">
          <a:solidFill>
            <a:schemeClr val="tx1"/>
          </a:solidFill>
          <a:latin typeface="Arial" pitchFamily="34" charset="0"/>
          <a:ea typeface="+mn-ea"/>
          <a:cs typeface="Arial"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de-DE"/>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71">
          <p15:clr>
            <a:srgbClr val="F26B43"/>
          </p15:clr>
        </p15:guide>
        <p15:guide id="2" pos="213">
          <p15:clr>
            <a:srgbClr val="F26B43"/>
          </p15:clr>
        </p15:guide>
        <p15:guide id="3" pos="7471">
          <p15:clr>
            <a:srgbClr val="F26B43"/>
          </p15:clr>
        </p15:guide>
        <p15:guide id="4" orient="horz" pos="392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21.xml"/><Relationship Id="rId4" Type="http://schemas.openxmlformats.org/officeDocument/2006/relationships/image" Target="../media/image13.jpeg"/></Relationships>
</file>

<file path=ppt/slides/_rels/slide2.xml.rels><?xml version="1.0" encoding="UTF-8" standalone="yes"?>
<Relationships xmlns="http://schemas.openxmlformats.org/package/2006/relationships"><Relationship Id="rId8" Type="http://schemas.openxmlformats.org/officeDocument/2006/relationships/image" Target="../media/image50.jpeg"/><Relationship Id="rId13" Type="http://schemas.openxmlformats.org/officeDocument/2006/relationships/image" Target="../media/image55.svg"/><Relationship Id="rId18" Type="http://schemas.openxmlformats.org/officeDocument/2006/relationships/image" Target="../media/image60.png"/><Relationship Id="rId3" Type="http://schemas.openxmlformats.org/officeDocument/2006/relationships/notesSlide" Target="../notesSlides/notesSlide1.xml"/><Relationship Id="rId21" Type="http://schemas.openxmlformats.org/officeDocument/2006/relationships/image" Target="../media/image63.png"/><Relationship Id="rId7" Type="http://schemas.openxmlformats.org/officeDocument/2006/relationships/image" Target="../media/image49.svg"/><Relationship Id="rId12" Type="http://schemas.openxmlformats.org/officeDocument/2006/relationships/image" Target="../media/image54.png"/><Relationship Id="rId17" Type="http://schemas.openxmlformats.org/officeDocument/2006/relationships/image" Target="../media/image59.jpeg"/><Relationship Id="rId2" Type="http://schemas.openxmlformats.org/officeDocument/2006/relationships/slideLayout" Target="../slideLayouts/slideLayout33.xml"/><Relationship Id="rId16" Type="http://schemas.openxmlformats.org/officeDocument/2006/relationships/image" Target="../media/image58.svg"/><Relationship Id="rId20" Type="http://schemas.openxmlformats.org/officeDocument/2006/relationships/image" Target="../media/image62.jpeg"/><Relationship Id="rId1" Type="http://schemas.openxmlformats.org/officeDocument/2006/relationships/tags" Target="../tags/tag87.xml"/><Relationship Id="rId6" Type="http://schemas.openxmlformats.org/officeDocument/2006/relationships/image" Target="../media/image48.png"/><Relationship Id="rId11" Type="http://schemas.openxmlformats.org/officeDocument/2006/relationships/image" Target="../media/image53.jpeg"/><Relationship Id="rId5" Type="http://schemas.openxmlformats.org/officeDocument/2006/relationships/image" Target="../media/image47.jpeg"/><Relationship Id="rId15" Type="http://schemas.openxmlformats.org/officeDocument/2006/relationships/image" Target="../media/image57.png"/><Relationship Id="rId10" Type="http://schemas.openxmlformats.org/officeDocument/2006/relationships/image" Target="../media/image52.svg"/><Relationship Id="rId19" Type="http://schemas.openxmlformats.org/officeDocument/2006/relationships/image" Target="../media/image61.svg"/><Relationship Id="rId4" Type="http://schemas.openxmlformats.org/officeDocument/2006/relationships/image" Target="../media/image46.png"/><Relationship Id="rId9" Type="http://schemas.openxmlformats.org/officeDocument/2006/relationships/image" Target="../media/image51.png"/><Relationship Id="rId14" Type="http://schemas.openxmlformats.org/officeDocument/2006/relationships/image" Target="../media/image56.jpeg"/><Relationship Id="rId22" Type="http://schemas.openxmlformats.org/officeDocument/2006/relationships/image" Target="../media/image64.svg"/></Relationships>
</file>

<file path=ppt/slides/_rels/slide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tags" Target="../tags/tag90.xml"/><Relationship Id="rId7" Type="http://schemas.openxmlformats.org/officeDocument/2006/relationships/image" Target="../media/image65.emf"/><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oleObject" Target="../embeddings/oleObject27.bin"/><Relationship Id="rId5" Type="http://schemas.openxmlformats.org/officeDocument/2006/relationships/notesSlide" Target="../notesSlides/notesSlide2.xml"/><Relationship Id="rId4"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customXml" Target="../ink/ink1.xml"/></Relationships>
</file>

<file path=ppt/slides/_rels/slide5.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image" Target="../media/image71.jpeg"/><Relationship Id="rId7" Type="http://schemas.openxmlformats.org/officeDocument/2006/relationships/image" Target="../media/image75.svg"/><Relationship Id="rId12" Type="http://schemas.openxmlformats.org/officeDocument/2006/relationships/image" Target="../media/image80.jpeg"/><Relationship Id="rId2" Type="http://schemas.openxmlformats.org/officeDocument/2006/relationships/image" Target="../media/image70.jpeg"/><Relationship Id="rId1" Type="http://schemas.openxmlformats.org/officeDocument/2006/relationships/slideLayout" Target="../slideLayouts/slideLayout11.xml"/><Relationship Id="rId6" Type="http://schemas.openxmlformats.org/officeDocument/2006/relationships/image" Target="../media/image74.png"/><Relationship Id="rId11" Type="http://schemas.openxmlformats.org/officeDocument/2006/relationships/image" Target="../media/image79.jpeg"/><Relationship Id="rId5" Type="http://schemas.openxmlformats.org/officeDocument/2006/relationships/image" Target="../media/image73.jpeg"/><Relationship Id="rId10" Type="http://schemas.openxmlformats.org/officeDocument/2006/relationships/image" Target="../media/image78.svg"/><Relationship Id="rId4" Type="http://schemas.openxmlformats.org/officeDocument/2006/relationships/image" Target="../media/image72.jpeg"/><Relationship Id="rId9" Type="http://schemas.openxmlformats.org/officeDocument/2006/relationships/image" Target="../media/image77.png"/></Relationships>
</file>

<file path=ppt/slides/_rels/slide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7.xml"/><Relationship Id="rId1" Type="http://schemas.openxmlformats.org/officeDocument/2006/relationships/tags" Target="../tags/tag91.xml"/><Relationship Id="rId5" Type="http://schemas.openxmlformats.org/officeDocument/2006/relationships/image" Target="../media/image82.emf"/><Relationship Id="rId4" Type="http://schemas.openxmlformats.org/officeDocument/2006/relationships/oleObject" Target="../embeddings/oleObject28.bin"/></Relationships>
</file>

<file path=ppt/slides/_rels/slide8.xml.rels><?xml version="1.0" encoding="UTF-8" standalone="yes"?>
<Relationships xmlns="http://schemas.openxmlformats.org/package/2006/relationships"><Relationship Id="rId3" Type="http://schemas.openxmlformats.org/officeDocument/2006/relationships/hyperlink" Target="https://geoportal.muenchen.de/portal/waermeplan/" TargetMode="External"/><Relationship Id="rId2" Type="http://schemas.openxmlformats.org/officeDocument/2006/relationships/notesSlide" Target="../notesSlides/notesSlide6.xml"/><Relationship Id="rId1" Type="http://schemas.openxmlformats.org/officeDocument/2006/relationships/slideLayout" Target="../slideLayouts/slideLayout11.xml"/><Relationship Id="rId4" Type="http://schemas.openxmlformats.org/officeDocument/2006/relationships/image" Target="../media/image83.png"/></Relationships>
</file>

<file path=ppt/slides/_rels/slide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1.xml"/><Relationship Id="rId4" Type="http://schemas.openxmlformats.org/officeDocument/2006/relationships/image" Target="../media/image8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FB5427-6630-40AD-9F20-14CBD6937F3F}"/>
              </a:ext>
            </a:extLst>
          </p:cNvPr>
          <p:cNvSpPr>
            <a:spLocks noGrp="1"/>
          </p:cNvSpPr>
          <p:nvPr>
            <p:ph type="ctrTitle"/>
          </p:nvPr>
        </p:nvSpPr>
        <p:spPr/>
        <p:txBody>
          <a:bodyPr/>
          <a:lstStyle/>
          <a:p>
            <a:r>
              <a:rPr lang="de-DE"/>
              <a:t>Heat </a:t>
            </a:r>
            <a:r>
              <a:rPr lang="de-DE" err="1"/>
              <a:t>transition</a:t>
            </a:r>
            <a:r>
              <a:rPr lang="de-DE"/>
              <a:t> and </a:t>
            </a:r>
            <a:r>
              <a:rPr lang="de-DE" err="1"/>
              <a:t>the</a:t>
            </a:r>
            <a:r>
              <a:rPr lang="de-DE"/>
              <a:t> </a:t>
            </a:r>
            <a:r>
              <a:rPr lang="de-DE" err="1"/>
              <a:t>role</a:t>
            </a:r>
            <a:r>
              <a:rPr lang="de-DE"/>
              <a:t> </a:t>
            </a:r>
            <a:r>
              <a:rPr lang="de-DE" err="1"/>
              <a:t>of</a:t>
            </a:r>
            <a:r>
              <a:rPr lang="de-DE"/>
              <a:t> geothermal </a:t>
            </a:r>
            <a:r>
              <a:rPr lang="de-DE" err="1"/>
              <a:t>energy</a:t>
            </a:r>
            <a:endParaRPr lang="de-DE"/>
          </a:p>
        </p:txBody>
      </p:sp>
      <p:sp>
        <p:nvSpPr>
          <p:cNvPr id="4" name="Rechteck 3">
            <a:extLst>
              <a:ext uri="{FF2B5EF4-FFF2-40B4-BE49-F238E27FC236}">
                <a16:creationId xmlns:a16="http://schemas.microsoft.com/office/drawing/2014/main" id="{5D767556-8DC8-47AB-B25E-48BE8C74E968}"/>
              </a:ext>
            </a:extLst>
          </p:cNvPr>
          <p:cNvSpPr/>
          <p:nvPr/>
        </p:nvSpPr>
        <p:spPr bwMode="auto">
          <a:xfrm>
            <a:off x="-1220893" y="2836065"/>
            <a:ext cx="1002778" cy="3728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71963" rIns="71963" anchor="ctr"/>
          <a:lstStyle/>
          <a:p>
            <a:pPr algn="l">
              <a:defRPr/>
            </a:pPr>
            <a:r>
              <a:rPr lang="de-DE" sz="800" b="1">
                <a:latin typeface="Arial" pitchFamily="34" charset="0"/>
                <a:cs typeface="Arial" pitchFamily="34" charset="0"/>
              </a:rPr>
              <a:t>SWM intern</a:t>
            </a:r>
          </a:p>
        </p:txBody>
      </p:sp>
      <p:sp>
        <p:nvSpPr>
          <p:cNvPr id="5" name="Rechteck 4">
            <a:extLst>
              <a:ext uri="{FF2B5EF4-FFF2-40B4-BE49-F238E27FC236}">
                <a16:creationId xmlns:a16="http://schemas.microsoft.com/office/drawing/2014/main" id="{84DEF2A8-8D33-4501-831F-E5EB0643DF16}"/>
              </a:ext>
            </a:extLst>
          </p:cNvPr>
          <p:cNvSpPr/>
          <p:nvPr/>
        </p:nvSpPr>
        <p:spPr bwMode="auto">
          <a:xfrm>
            <a:off x="-1220894" y="3303655"/>
            <a:ext cx="1002778" cy="3728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71963" rIns="71963" anchor="ctr"/>
          <a:lstStyle/>
          <a:p>
            <a:pPr algn="l">
              <a:defRPr/>
            </a:pPr>
            <a:r>
              <a:rPr lang="de-DE" sz="800" b="1">
                <a:latin typeface="Arial" pitchFamily="34" charset="0"/>
                <a:cs typeface="Arial" pitchFamily="34" charset="0"/>
              </a:rPr>
              <a:t>SWM intern</a:t>
            </a:r>
          </a:p>
        </p:txBody>
      </p:sp>
      <p:sp>
        <p:nvSpPr>
          <p:cNvPr id="6" name="Rechteck 5">
            <a:extLst>
              <a:ext uri="{FF2B5EF4-FFF2-40B4-BE49-F238E27FC236}">
                <a16:creationId xmlns:a16="http://schemas.microsoft.com/office/drawing/2014/main" id="{E6916AEE-60FD-41BA-B03B-76F7BBCB2EF5}"/>
              </a:ext>
            </a:extLst>
          </p:cNvPr>
          <p:cNvSpPr/>
          <p:nvPr/>
        </p:nvSpPr>
        <p:spPr bwMode="auto">
          <a:xfrm>
            <a:off x="-1220894" y="3842109"/>
            <a:ext cx="1002778" cy="37286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71963" rIns="71963" anchor="ctr"/>
          <a:lstStyle/>
          <a:p>
            <a:pPr algn="l">
              <a:defRPr/>
            </a:pPr>
            <a:r>
              <a:rPr lang="de-DE" sz="800" b="1">
                <a:latin typeface="Arial" pitchFamily="34" charset="0"/>
                <a:cs typeface="Arial" pitchFamily="34" charset="0"/>
              </a:rPr>
              <a:t>Vertraulich</a:t>
            </a:r>
          </a:p>
        </p:txBody>
      </p:sp>
      <p:sp>
        <p:nvSpPr>
          <p:cNvPr id="9" name="Untertitel 8">
            <a:extLst>
              <a:ext uri="{FF2B5EF4-FFF2-40B4-BE49-F238E27FC236}">
                <a16:creationId xmlns:a16="http://schemas.microsoft.com/office/drawing/2014/main" id="{DCD6C598-C81E-D0E2-C3DF-BA769F3AD7C0}"/>
              </a:ext>
            </a:extLst>
          </p:cNvPr>
          <p:cNvSpPr>
            <a:spLocks noGrp="1"/>
          </p:cNvSpPr>
          <p:nvPr>
            <p:ph type="subTitle" idx="1"/>
          </p:nvPr>
        </p:nvSpPr>
        <p:spPr/>
        <p:txBody>
          <a:bodyPr/>
          <a:lstStyle/>
          <a:p>
            <a:pPr marL="1270"/>
            <a:r>
              <a:rPr lang="de-DE"/>
              <a:t>21.03.2025</a:t>
            </a:r>
          </a:p>
          <a:p>
            <a:pPr marL="1270"/>
            <a:r>
              <a:rPr lang="de-DE" sz="1350">
                <a:latin typeface="Arial"/>
                <a:cs typeface="Arial"/>
              </a:rPr>
              <a:t>Dr. Karin Thelen, Chief </a:t>
            </a:r>
            <a:r>
              <a:rPr lang="de-DE" sz="1350" err="1">
                <a:latin typeface="Arial"/>
                <a:cs typeface="Arial"/>
              </a:rPr>
              <a:t>Renewables</a:t>
            </a:r>
            <a:r>
              <a:rPr lang="de-DE" sz="1350">
                <a:latin typeface="Arial"/>
                <a:cs typeface="Arial"/>
              </a:rPr>
              <a:t> Officer</a:t>
            </a:r>
          </a:p>
          <a:p>
            <a:pPr marL="1270"/>
            <a:r>
              <a:rPr lang="de-DE"/>
              <a:t>Member </a:t>
            </a:r>
            <a:r>
              <a:rPr lang="de-DE" err="1"/>
              <a:t>of</a:t>
            </a:r>
            <a:r>
              <a:rPr lang="de-DE"/>
              <a:t> </a:t>
            </a:r>
            <a:r>
              <a:rPr lang="de-DE" err="1"/>
              <a:t>the</a:t>
            </a:r>
            <a:r>
              <a:rPr lang="de-DE"/>
              <a:t> Management Board, Stadtwerke München GmbH (SWM)</a:t>
            </a:r>
          </a:p>
          <a:p>
            <a:pPr marL="1270"/>
            <a:endParaRPr lang="de-DE"/>
          </a:p>
        </p:txBody>
      </p:sp>
    </p:spTree>
    <p:extLst>
      <p:ext uri="{BB962C8B-B14F-4D97-AF65-F5344CB8AC3E}">
        <p14:creationId xmlns:p14="http://schemas.microsoft.com/office/powerpoint/2010/main" val="2584431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Gras, Himmel, draußen, Natur enthält.&#10;&#10;Automatisch generierte Beschreibung">
            <a:extLst>
              <a:ext uri="{FF2B5EF4-FFF2-40B4-BE49-F238E27FC236}">
                <a16:creationId xmlns:a16="http://schemas.microsoft.com/office/drawing/2014/main" id="{15747ECF-1C98-4D61-8AFA-060B17DCF38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785"/>
            <a:ext cx="12192001" cy="6854430"/>
          </a:xfrm>
          <a:prstGeom prst="rect">
            <a:avLst/>
          </a:prstGeom>
        </p:spPr>
      </p:pic>
      <p:sp>
        <p:nvSpPr>
          <p:cNvPr id="2" name="Titel 1">
            <a:extLst>
              <a:ext uri="{FF2B5EF4-FFF2-40B4-BE49-F238E27FC236}">
                <a16:creationId xmlns:a16="http://schemas.microsoft.com/office/drawing/2014/main" id="{0C0DEAE5-0755-AB3A-461D-7D80CF38DAE2}"/>
              </a:ext>
            </a:extLst>
          </p:cNvPr>
          <p:cNvSpPr>
            <a:spLocks noGrp="1"/>
          </p:cNvSpPr>
          <p:nvPr>
            <p:ph type="ctrTitle"/>
          </p:nvPr>
        </p:nvSpPr>
        <p:spPr/>
        <p:txBody>
          <a:bodyPr/>
          <a:lstStyle/>
          <a:p>
            <a:r>
              <a:rPr lang="en-US"/>
              <a:t>Thank you</a:t>
            </a:r>
            <a:br>
              <a:rPr lang="en-US"/>
            </a:br>
            <a:r>
              <a:rPr lang="en-US"/>
              <a:t>for your attention.</a:t>
            </a:r>
          </a:p>
        </p:txBody>
      </p:sp>
      <p:pic>
        <p:nvPicPr>
          <p:cNvPr id="15" name="Grafik 14">
            <a:extLst>
              <a:ext uri="{FF2B5EF4-FFF2-40B4-BE49-F238E27FC236}">
                <a16:creationId xmlns:a16="http://schemas.microsoft.com/office/drawing/2014/main" id="{5B7C3F8C-C518-4749-B958-0B29715AF51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64153" y="372316"/>
            <a:ext cx="1827846" cy="619364"/>
          </a:xfrm>
          <a:prstGeom prst="rect">
            <a:avLst/>
          </a:prstGeom>
        </p:spPr>
      </p:pic>
    </p:spTree>
    <p:extLst>
      <p:ext uri="{BB962C8B-B14F-4D97-AF65-F5344CB8AC3E}">
        <p14:creationId xmlns:p14="http://schemas.microsoft.com/office/powerpoint/2010/main" val="907179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BF900DE-B862-A441-8088-94A0128B6ED6}"/>
              </a:ext>
            </a:extLst>
          </p:cNvPr>
          <p:cNvSpPr/>
          <p:nvPr/>
        </p:nvSpPr>
        <p:spPr>
          <a:xfrm>
            <a:off x="1" y="4420260"/>
            <a:ext cx="12191999" cy="2435955"/>
          </a:xfrm>
          <a:prstGeom prst="rect">
            <a:avLst/>
          </a:prstGeom>
          <a:solidFill>
            <a:srgbClr val="EFF7F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799" b="0" i="0" u="none" strike="noStrike" kern="1200" cap="none" spc="0" normalizeH="0" baseline="0" noProof="0">
              <a:ln>
                <a:noFill/>
              </a:ln>
              <a:solidFill>
                <a:srgbClr val="000000"/>
              </a:solidFill>
              <a:effectLst/>
              <a:uLnTx/>
              <a:uFillTx/>
              <a:latin typeface="Arial"/>
              <a:ea typeface="+mn-ea"/>
              <a:cs typeface="+mn-cs"/>
            </a:endParaRPr>
          </a:p>
        </p:txBody>
      </p:sp>
      <p:sp>
        <p:nvSpPr>
          <p:cNvPr id="8" name="Foliennummernplatzhalter 7">
            <a:extLst>
              <a:ext uri="{FF2B5EF4-FFF2-40B4-BE49-F238E27FC236}">
                <a16:creationId xmlns:a16="http://schemas.microsoft.com/office/drawing/2014/main" id="{6E889B85-BD04-4EDF-80BF-35ACBDD3A8DD}"/>
              </a:ext>
            </a:extLst>
          </p:cNvPr>
          <p:cNvSpPr>
            <a:spLocks noGrp="1"/>
          </p:cNvSpPr>
          <p:nvPr>
            <p:ph type="sldNum" sz="quarter" idx="4"/>
          </p:nvPr>
        </p:nvSpPr>
        <p:spPr>
          <a:xfrm>
            <a:off x="344061" y="6507985"/>
            <a:ext cx="257950" cy="153808"/>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fld id="{CAAC1DFF-D847-41A9-936B-84F626DB394F}" type="slidenum">
              <a:rPr kumimoji="0" lang="de-DE" sz="999" b="0" i="0" u="none" strike="noStrike" kern="1200" cap="none" spc="0" normalizeH="0" baseline="0" noProof="0">
                <a:ln>
                  <a:noFill/>
                </a:ln>
                <a:solidFill>
                  <a:srgbClr val="738792"/>
                </a:solidFill>
                <a:effectLst/>
                <a:uLnTx/>
                <a:uFillTx/>
                <a:latin typeface="Arial" pitchFamily="34" charset="0"/>
                <a:ea typeface="+mn-ea"/>
                <a:cs typeface="Arial" pitchFamily="34" charset="0"/>
              </a:rPr>
              <a:pPr marL="0" marR="0" lvl="0" indent="0" algn="l" defTabSz="913943" rtl="0" eaLnBrk="1" fontAlgn="auto" latinLnBrk="0" hangingPunct="1">
                <a:lnSpc>
                  <a:spcPct val="100000"/>
                </a:lnSpc>
                <a:spcBef>
                  <a:spcPts val="0"/>
                </a:spcBef>
                <a:spcAft>
                  <a:spcPts val="0"/>
                </a:spcAft>
                <a:buClrTx/>
                <a:buSzTx/>
                <a:buFontTx/>
                <a:buNone/>
                <a:tabLst/>
                <a:defRPr/>
              </a:pPr>
              <a:t>2</a:t>
            </a:fld>
            <a:endParaRPr kumimoji="0" lang="de-DE" sz="999" b="0" i="0" u="none" strike="noStrike" kern="1200" cap="none" spc="0" normalizeH="0" baseline="0" noProof="0">
              <a:ln>
                <a:noFill/>
              </a:ln>
              <a:solidFill>
                <a:srgbClr val="738792"/>
              </a:solidFill>
              <a:effectLst/>
              <a:uLnTx/>
              <a:uFillTx/>
              <a:latin typeface="Arial" pitchFamily="34" charset="0"/>
              <a:ea typeface="+mn-ea"/>
              <a:cs typeface="Arial" pitchFamily="34" charset="0"/>
            </a:endParaRPr>
          </a:p>
        </p:txBody>
      </p:sp>
      <p:grpSp>
        <p:nvGrpSpPr>
          <p:cNvPr id="39" name="Gruppieren 38">
            <a:extLst>
              <a:ext uri="{FF2B5EF4-FFF2-40B4-BE49-F238E27FC236}">
                <a16:creationId xmlns:a16="http://schemas.microsoft.com/office/drawing/2014/main" id="{E2B04FD4-160B-4B42-A08A-CF015D2D0A62}"/>
              </a:ext>
            </a:extLst>
          </p:cNvPr>
          <p:cNvGrpSpPr/>
          <p:nvPr/>
        </p:nvGrpSpPr>
        <p:grpSpPr>
          <a:xfrm>
            <a:off x="11078154" y="6407187"/>
            <a:ext cx="774298" cy="264975"/>
            <a:chOff x="8015288" y="6408738"/>
            <a:chExt cx="774701" cy="265113"/>
          </a:xfrm>
        </p:grpSpPr>
        <p:sp>
          <p:nvSpPr>
            <p:cNvPr id="40" name="Freeform 6">
              <a:extLst>
                <a:ext uri="{FF2B5EF4-FFF2-40B4-BE49-F238E27FC236}">
                  <a16:creationId xmlns:a16="http://schemas.microsoft.com/office/drawing/2014/main" id="{1A428559-490A-914E-9D26-82A6ACD5D621}"/>
                </a:ext>
              </a:extLst>
            </p:cNvPr>
            <p:cNvSpPr>
              <a:spLocks/>
            </p:cNvSpPr>
            <p:nvPr userDrawn="1"/>
          </p:nvSpPr>
          <p:spPr bwMode="auto">
            <a:xfrm>
              <a:off x="8435976" y="6408738"/>
              <a:ext cx="190500" cy="265113"/>
            </a:xfrm>
            <a:custGeom>
              <a:avLst/>
              <a:gdLst>
                <a:gd name="T0" fmla="*/ 618 w 836"/>
                <a:gd name="T1" fmla="*/ 0 h 1167"/>
                <a:gd name="T2" fmla="*/ 836 w 836"/>
                <a:gd name="T3" fmla="*/ 0 h 1167"/>
                <a:gd name="T4" fmla="*/ 220 w 836"/>
                <a:gd name="T5" fmla="*/ 1167 h 1167"/>
                <a:gd name="T6" fmla="*/ 0 w 836"/>
                <a:gd name="T7" fmla="*/ 1167 h 1167"/>
                <a:gd name="T8" fmla="*/ 618 w 836"/>
                <a:gd name="T9" fmla="*/ 0 h 1167"/>
              </a:gdLst>
              <a:ahLst/>
              <a:cxnLst>
                <a:cxn ang="0">
                  <a:pos x="T0" y="T1"/>
                </a:cxn>
                <a:cxn ang="0">
                  <a:pos x="T2" y="T3"/>
                </a:cxn>
                <a:cxn ang="0">
                  <a:pos x="T4" y="T5"/>
                </a:cxn>
                <a:cxn ang="0">
                  <a:pos x="T6" y="T7"/>
                </a:cxn>
                <a:cxn ang="0">
                  <a:pos x="T8" y="T9"/>
                </a:cxn>
              </a:cxnLst>
              <a:rect l="0" t="0" r="r" b="b"/>
              <a:pathLst>
                <a:path w="836" h="1167">
                  <a:moveTo>
                    <a:pt x="618" y="0"/>
                  </a:moveTo>
                  <a:lnTo>
                    <a:pt x="836" y="0"/>
                  </a:lnTo>
                  <a:lnTo>
                    <a:pt x="220" y="1167"/>
                  </a:lnTo>
                  <a:lnTo>
                    <a:pt x="0" y="1167"/>
                  </a:lnTo>
                  <a:lnTo>
                    <a:pt x="618" y="0"/>
                  </a:lnTo>
                  <a:close/>
                </a:path>
              </a:pathLst>
            </a:custGeom>
            <a:solidFill>
              <a:schemeClr val="accent2"/>
            </a:solidFill>
            <a:ln w="0">
              <a:noFill/>
              <a:prstDash val="solid"/>
              <a:round/>
              <a:headEnd/>
              <a:tailEnd/>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de-DE" sz="1799"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7">
              <a:extLst>
                <a:ext uri="{FF2B5EF4-FFF2-40B4-BE49-F238E27FC236}">
                  <a16:creationId xmlns:a16="http://schemas.microsoft.com/office/drawing/2014/main" id="{58C60BEC-0D2E-224D-A8AD-1A034B7BB856}"/>
                </a:ext>
              </a:extLst>
            </p:cNvPr>
            <p:cNvSpPr>
              <a:spLocks/>
            </p:cNvSpPr>
            <p:nvPr userDrawn="1"/>
          </p:nvSpPr>
          <p:spPr bwMode="auto">
            <a:xfrm>
              <a:off x="8355013" y="6408738"/>
              <a:ext cx="188913" cy="265113"/>
            </a:xfrm>
            <a:custGeom>
              <a:avLst/>
              <a:gdLst>
                <a:gd name="T0" fmla="*/ 618 w 837"/>
                <a:gd name="T1" fmla="*/ 0 h 1167"/>
                <a:gd name="T2" fmla="*/ 837 w 837"/>
                <a:gd name="T3" fmla="*/ 0 h 1167"/>
                <a:gd name="T4" fmla="*/ 219 w 837"/>
                <a:gd name="T5" fmla="*/ 1167 h 1167"/>
                <a:gd name="T6" fmla="*/ 0 w 837"/>
                <a:gd name="T7" fmla="*/ 1167 h 1167"/>
                <a:gd name="T8" fmla="*/ 618 w 837"/>
                <a:gd name="T9" fmla="*/ 0 h 1167"/>
              </a:gdLst>
              <a:ahLst/>
              <a:cxnLst>
                <a:cxn ang="0">
                  <a:pos x="T0" y="T1"/>
                </a:cxn>
                <a:cxn ang="0">
                  <a:pos x="T2" y="T3"/>
                </a:cxn>
                <a:cxn ang="0">
                  <a:pos x="T4" y="T5"/>
                </a:cxn>
                <a:cxn ang="0">
                  <a:pos x="T6" y="T7"/>
                </a:cxn>
                <a:cxn ang="0">
                  <a:pos x="T8" y="T9"/>
                </a:cxn>
              </a:cxnLst>
              <a:rect l="0" t="0" r="r" b="b"/>
              <a:pathLst>
                <a:path w="837" h="1167">
                  <a:moveTo>
                    <a:pt x="618" y="0"/>
                  </a:moveTo>
                  <a:lnTo>
                    <a:pt x="837" y="0"/>
                  </a:lnTo>
                  <a:lnTo>
                    <a:pt x="219" y="1167"/>
                  </a:lnTo>
                  <a:lnTo>
                    <a:pt x="0" y="1167"/>
                  </a:lnTo>
                  <a:lnTo>
                    <a:pt x="618" y="0"/>
                  </a:lnTo>
                  <a:close/>
                </a:path>
              </a:pathLst>
            </a:custGeom>
            <a:solidFill>
              <a:schemeClr val="tx2"/>
            </a:solidFill>
            <a:ln w="0">
              <a:noFill/>
              <a:prstDash val="solid"/>
              <a:round/>
              <a:headEnd/>
              <a:tailEnd/>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de-DE" sz="1799"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8">
              <a:extLst>
                <a:ext uri="{FF2B5EF4-FFF2-40B4-BE49-F238E27FC236}">
                  <a16:creationId xmlns:a16="http://schemas.microsoft.com/office/drawing/2014/main" id="{12E40CC8-3F20-EF40-ACAA-E10F3E9110F5}"/>
                </a:ext>
              </a:extLst>
            </p:cNvPr>
            <p:cNvSpPr>
              <a:spLocks/>
            </p:cNvSpPr>
            <p:nvPr userDrawn="1"/>
          </p:nvSpPr>
          <p:spPr bwMode="auto">
            <a:xfrm>
              <a:off x="8193088" y="6450013"/>
              <a:ext cx="247650" cy="182563"/>
            </a:xfrm>
            <a:custGeom>
              <a:avLst/>
              <a:gdLst>
                <a:gd name="T0" fmla="*/ 0 w 1098"/>
                <a:gd name="T1" fmla="*/ 0 h 809"/>
                <a:gd name="T2" fmla="*/ 200 w 1098"/>
                <a:gd name="T3" fmla="*/ 0 h 809"/>
                <a:gd name="T4" fmla="*/ 200 w 1098"/>
                <a:gd name="T5" fmla="*/ 431 h 809"/>
                <a:gd name="T6" fmla="*/ 446 w 1098"/>
                <a:gd name="T7" fmla="*/ 0 h 809"/>
                <a:gd name="T8" fmla="*/ 664 w 1098"/>
                <a:gd name="T9" fmla="*/ 0 h 809"/>
                <a:gd name="T10" fmla="*/ 664 w 1098"/>
                <a:gd name="T11" fmla="*/ 439 h 809"/>
                <a:gd name="T12" fmla="*/ 905 w 1098"/>
                <a:gd name="T13" fmla="*/ 0 h 809"/>
                <a:gd name="T14" fmla="*/ 1098 w 1098"/>
                <a:gd name="T15" fmla="*/ 0 h 809"/>
                <a:gd name="T16" fmla="*/ 667 w 1098"/>
                <a:gd name="T17" fmla="*/ 809 h 809"/>
                <a:gd name="T18" fmla="*/ 460 w 1098"/>
                <a:gd name="T19" fmla="*/ 809 h 809"/>
                <a:gd name="T20" fmla="*/ 460 w 1098"/>
                <a:gd name="T21" fmla="*/ 342 h 809"/>
                <a:gd name="T22" fmla="*/ 200 w 1098"/>
                <a:gd name="T23" fmla="*/ 809 h 809"/>
                <a:gd name="T24" fmla="*/ 0 w 1098"/>
                <a:gd name="T25" fmla="*/ 809 h 809"/>
                <a:gd name="T26" fmla="*/ 0 w 1098"/>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98" h="809">
                  <a:moveTo>
                    <a:pt x="0" y="0"/>
                  </a:moveTo>
                  <a:lnTo>
                    <a:pt x="200" y="0"/>
                  </a:lnTo>
                  <a:lnTo>
                    <a:pt x="200" y="431"/>
                  </a:lnTo>
                  <a:lnTo>
                    <a:pt x="446" y="0"/>
                  </a:lnTo>
                  <a:lnTo>
                    <a:pt x="664" y="0"/>
                  </a:lnTo>
                  <a:lnTo>
                    <a:pt x="664" y="439"/>
                  </a:lnTo>
                  <a:lnTo>
                    <a:pt x="905" y="0"/>
                  </a:lnTo>
                  <a:lnTo>
                    <a:pt x="1098" y="0"/>
                  </a:lnTo>
                  <a:lnTo>
                    <a:pt x="667" y="809"/>
                  </a:lnTo>
                  <a:lnTo>
                    <a:pt x="460" y="809"/>
                  </a:lnTo>
                  <a:lnTo>
                    <a:pt x="460" y="342"/>
                  </a:lnTo>
                  <a:lnTo>
                    <a:pt x="200" y="809"/>
                  </a:lnTo>
                  <a:lnTo>
                    <a:pt x="0" y="809"/>
                  </a:lnTo>
                  <a:lnTo>
                    <a:pt x="0" y="0"/>
                  </a:lnTo>
                  <a:close/>
                </a:path>
              </a:pathLst>
            </a:custGeom>
            <a:solidFill>
              <a:schemeClr val="tx1"/>
            </a:solidFill>
            <a:ln w="0">
              <a:noFill/>
              <a:prstDash val="solid"/>
              <a:round/>
              <a:headEnd/>
              <a:tailEnd/>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de-DE" sz="1799"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9">
              <a:extLst>
                <a:ext uri="{FF2B5EF4-FFF2-40B4-BE49-F238E27FC236}">
                  <a16:creationId xmlns:a16="http://schemas.microsoft.com/office/drawing/2014/main" id="{F17E0060-B44A-2048-8448-1BAEFB7F7E90}"/>
                </a:ext>
              </a:extLst>
            </p:cNvPr>
            <p:cNvSpPr>
              <a:spLocks/>
            </p:cNvSpPr>
            <p:nvPr userDrawn="1"/>
          </p:nvSpPr>
          <p:spPr bwMode="auto">
            <a:xfrm>
              <a:off x="8540751" y="6450013"/>
              <a:ext cx="249238" cy="182563"/>
            </a:xfrm>
            <a:custGeom>
              <a:avLst/>
              <a:gdLst>
                <a:gd name="T0" fmla="*/ 428 w 1100"/>
                <a:gd name="T1" fmla="*/ 0 h 809"/>
                <a:gd name="T2" fmla="*/ 642 w 1100"/>
                <a:gd name="T3" fmla="*/ 0 h 809"/>
                <a:gd name="T4" fmla="*/ 642 w 1100"/>
                <a:gd name="T5" fmla="*/ 467 h 809"/>
                <a:gd name="T6" fmla="*/ 897 w 1100"/>
                <a:gd name="T7" fmla="*/ 0 h 809"/>
                <a:gd name="T8" fmla="*/ 1100 w 1100"/>
                <a:gd name="T9" fmla="*/ 0 h 809"/>
                <a:gd name="T10" fmla="*/ 1100 w 1100"/>
                <a:gd name="T11" fmla="*/ 809 h 809"/>
                <a:gd name="T12" fmla="*/ 897 w 1100"/>
                <a:gd name="T13" fmla="*/ 809 h 809"/>
                <a:gd name="T14" fmla="*/ 897 w 1100"/>
                <a:gd name="T15" fmla="*/ 378 h 809"/>
                <a:gd name="T16" fmla="*/ 642 w 1100"/>
                <a:gd name="T17" fmla="*/ 809 h 809"/>
                <a:gd name="T18" fmla="*/ 433 w 1100"/>
                <a:gd name="T19" fmla="*/ 809 h 809"/>
                <a:gd name="T20" fmla="*/ 433 w 1100"/>
                <a:gd name="T21" fmla="*/ 376 h 809"/>
                <a:gd name="T22" fmla="*/ 194 w 1100"/>
                <a:gd name="T23" fmla="*/ 809 h 809"/>
                <a:gd name="T24" fmla="*/ 0 w 1100"/>
                <a:gd name="T25" fmla="*/ 809 h 809"/>
                <a:gd name="T26" fmla="*/ 428 w 1100"/>
                <a:gd name="T2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00" h="809">
                  <a:moveTo>
                    <a:pt x="428" y="0"/>
                  </a:moveTo>
                  <a:lnTo>
                    <a:pt x="642" y="0"/>
                  </a:lnTo>
                  <a:lnTo>
                    <a:pt x="642" y="467"/>
                  </a:lnTo>
                  <a:lnTo>
                    <a:pt x="897" y="0"/>
                  </a:lnTo>
                  <a:lnTo>
                    <a:pt x="1100" y="0"/>
                  </a:lnTo>
                  <a:lnTo>
                    <a:pt x="1100" y="809"/>
                  </a:lnTo>
                  <a:lnTo>
                    <a:pt x="897" y="809"/>
                  </a:lnTo>
                  <a:lnTo>
                    <a:pt x="897" y="378"/>
                  </a:lnTo>
                  <a:lnTo>
                    <a:pt x="642" y="809"/>
                  </a:lnTo>
                  <a:lnTo>
                    <a:pt x="433" y="809"/>
                  </a:lnTo>
                  <a:lnTo>
                    <a:pt x="433" y="376"/>
                  </a:lnTo>
                  <a:lnTo>
                    <a:pt x="194" y="809"/>
                  </a:lnTo>
                  <a:lnTo>
                    <a:pt x="0" y="809"/>
                  </a:lnTo>
                  <a:lnTo>
                    <a:pt x="428" y="0"/>
                  </a:lnTo>
                  <a:close/>
                </a:path>
              </a:pathLst>
            </a:custGeom>
            <a:solidFill>
              <a:schemeClr val="tx1"/>
            </a:solidFill>
            <a:ln w="0">
              <a:noFill/>
              <a:prstDash val="solid"/>
              <a:round/>
              <a:headEnd/>
              <a:tailEnd/>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de-DE" sz="1799"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10">
              <a:extLst>
                <a:ext uri="{FF2B5EF4-FFF2-40B4-BE49-F238E27FC236}">
                  <a16:creationId xmlns:a16="http://schemas.microsoft.com/office/drawing/2014/main" id="{3BC982AF-D6A4-704F-8823-0ED327A4D486}"/>
                </a:ext>
              </a:extLst>
            </p:cNvPr>
            <p:cNvSpPr>
              <a:spLocks/>
            </p:cNvSpPr>
            <p:nvPr userDrawn="1"/>
          </p:nvSpPr>
          <p:spPr bwMode="auto">
            <a:xfrm>
              <a:off x="8015288" y="6442075"/>
              <a:ext cx="155575" cy="195263"/>
            </a:xfrm>
            <a:custGeom>
              <a:avLst/>
              <a:gdLst>
                <a:gd name="T0" fmla="*/ 432 w 688"/>
                <a:gd name="T1" fmla="*/ 8 h 862"/>
                <a:gd name="T2" fmla="*/ 542 w 688"/>
                <a:gd name="T3" fmla="*/ 51 h 862"/>
                <a:gd name="T4" fmla="*/ 623 w 688"/>
                <a:gd name="T5" fmla="*/ 122 h 862"/>
                <a:gd name="T6" fmla="*/ 665 w 688"/>
                <a:gd name="T7" fmla="*/ 214 h 862"/>
                <a:gd name="T8" fmla="*/ 459 w 688"/>
                <a:gd name="T9" fmla="*/ 271 h 862"/>
                <a:gd name="T10" fmla="*/ 447 w 688"/>
                <a:gd name="T11" fmla="*/ 218 h 862"/>
                <a:gd name="T12" fmla="*/ 396 w 688"/>
                <a:gd name="T13" fmla="*/ 181 h 862"/>
                <a:gd name="T14" fmla="*/ 333 w 688"/>
                <a:gd name="T15" fmla="*/ 173 h 862"/>
                <a:gd name="T16" fmla="*/ 271 w 688"/>
                <a:gd name="T17" fmla="*/ 186 h 862"/>
                <a:gd name="T18" fmla="*/ 237 w 688"/>
                <a:gd name="T19" fmla="*/ 217 h 862"/>
                <a:gd name="T20" fmla="*/ 238 w 688"/>
                <a:gd name="T21" fmla="*/ 256 h 862"/>
                <a:gd name="T22" fmla="*/ 284 w 688"/>
                <a:gd name="T23" fmla="*/ 295 h 862"/>
                <a:gd name="T24" fmla="*/ 332 w 688"/>
                <a:gd name="T25" fmla="*/ 313 h 862"/>
                <a:gd name="T26" fmla="*/ 388 w 688"/>
                <a:gd name="T27" fmla="*/ 329 h 862"/>
                <a:gd name="T28" fmla="*/ 444 w 688"/>
                <a:gd name="T29" fmla="*/ 346 h 862"/>
                <a:gd name="T30" fmla="*/ 498 w 688"/>
                <a:gd name="T31" fmla="*/ 365 h 862"/>
                <a:gd name="T32" fmla="*/ 544 w 688"/>
                <a:gd name="T33" fmla="*/ 384 h 862"/>
                <a:gd name="T34" fmla="*/ 566 w 688"/>
                <a:gd name="T35" fmla="*/ 394 h 862"/>
                <a:gd name="T36" fmla="*/ 643 w 688"/>
                <a:gd name="T37" fmla="*/ 453 h 862"/>
                <a:gd name="T38" fmla="*/ 685 w 688"/>
                <a:gd name="T39" fmla="*/ 537 h 862"/>
                <a:gd name="T40" fmla="*/ 684 w 688"/>
                <a:gd name="T41" fmla="*/ 646 h 862"/>
                <a:gd name="T42" fmla="*/ 643 w 688"/>
                <a:gd name="T43" fmla="*/ 744 h 862"/>
                <a:gd name="T44" fmla="*/ 562 w 688"/>
                <a:gd name="T45" fmla="*/ 814 h 862"/>
                <a:gd name="T46" fmla="*/ 443 w 688"/>
                <a:gd name="T47" fmla="*/ 854 h 862"/>
                <a:gd name="T48" fmla="*/ 293 w 688"/>
                <a:gd name="T49" fmla="*/ 859 h 862"/>
                <a:gd name="T50" fmla="*/ 165 w 688"/>
                <a:gd name="T51" fmla="*/ 831 h 862"/>
                <a:gd name="T52" fmla="*/ 73 w 688"/>
                <a:gd name="T53" fmla="*/ 772 h 862"/>
                <a:gd name="T54" fmla="*/ 19 w 688"/>
                <a:gd name="T55" fmla="*/ 683 h 862"/>
                <a:gd name="T56" fmla="*/ 0 w 688"/>
                <a:gd name="T57" fmla="*/ 566 h 862"/>
                <a:gd name="T58" fmla="*/ 219 w 688"/>
                <a:gd name="T59" fmla="*/ 620 h 862"/>
                <a:gd name="T60" fmla="*/ 268 w 688"/>
                <a:gd name="T61" fmla="*/ 681 h 862"/>
                <a:gd name="T62" fmla="*/ 344 w 688"/>
                <a:gd name="T63" fmla="*/ 703 h 862"/>
                <a:gd name="T64" fmla="*/ 420 w 688"/>
                <a:gd name="T65" fmla="*/ 689 h 862"/>
                <a:gd name="T66" fmla="*/ 469 w 688"/>
                <a:gd name="T67" fmla="*/ 651 h 862"/>
                <a:gd name="T68" fmla="*/ 479 w 688"/>
                <a:gd name="T69" fmla="*/ 604 h 862"/>
                <a:gd name="T70" fmla="*/ 460 w 688"/>
                <a:gd name="T71" fmla="*/ 567 h 862"/>
                <a:gd name="T72" fmla="*/ 403 w 688"/>
                <a:gd name="T73" fmla="*/ 539 h 862"/>
                <a:gd name="T74" fmla="*/ 383 w 688"/>
                <a:gd name="T75" fmla="*/ 532 h 862"/>
                <a:gd name="T76" fmla="*/ 342 w 688"/>
                <a:gd name="T77" fmla="*/ 519 h 862"/>
                <a:gd name="T78" fmla="*/ 285 w 688"/>
                <a:gd name="T79" fmla="*/ 503 h 862"/>
                <a:gd name="T80" fmla="*/ 220 w 688"/>
                <a:gd name="T81" fmla="*/ 484 h 862"/>
                <a:gd name="T82" fmla="*/ 171 w 688"/>
                <a:gd name="T83" fmla="*/ 464 h 862"/>
                <a:gd name="T84" fmla="*/ 89 w 688"/>
                <a:gd name="T85" fmla="*/ 409 h 862"/>
                <a:gd name="T86" fmla="*/ 34 w 688"/>
                <a:gd name="T87" fmla="*/ 318 h 862"/>
                <a:gd name="T88" fmla="*/ 28 w 688"/>
                <a:gd name="T89" fmla="*/ 213 h 862"/>
                <a:gd name="T90" fmla="*/ 67 w 688"/>
                <a:gd name="T91" fmla="*/ 121 h 862"/>
                <a:gd name="T92" fmla="*/ 149 w 688"/>
                <a:gd name="T93" fmla="*/ 50 h 862"/>
                <a:gd name="T94" fmla="*/ 261 w 688"/>
                <a:gd name="T95" fmla="*/ 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88" h="862">
                  <a:moveTo>
                    <a:pt x="347" y="0"/>
                  </a:moveTo>
                  <a:lnTo>
                    <a:pt x="390" y="2"/>
                  </a:lnTo>
                  <a:lnTo>
                    <a:pt x="432" y="8"/>
                  </a:lnTo>
                  <a:lnTo>
                    <a:pt x="471" y="19"/>
                  </a:lnTo>
                  <a:lnTo>
                    <a:pt x="508" y="34"/>
                  </a:lnTo>
                  <a:lnTo>
                    <a:pt x="542" y="51"/>
                  </a:lnTo>
                  <a:lnTo>
                    <a:pt x="573" y="73"/>
                  </a:lnTo>
                  <a:lnTo>
                    <a:pt x="600" y="97"/>
                  </a:lnTo>
                  <a:lnTo>
                    <a:pt x="623" y="122"/>
                  </a:lnTo>
                  <a:lnTo>
                    <a:pt x="642" y="151"/>
                  </a:lnTo>
                  <a:lnTo>
                    <a:pt x="655" y="182"/>
                  </a:lnTo>
                  <a:lnTo>
                    <a:pt x="665" y="214"/>
                  </a:lnTo>
                  <a:lnTo>
                    <a:pt x="667" y="248"/>
                  </a:lnTo>
                  <a:lnTo>
                    <a:pt x="667" y="271"/>
                  </a:lnTo>
                  <a:lnTo>
                    <a:pt x="459" y="271"/>
                  </a:lnTo>
                  <a:lnTo>
                    <a:pt x="459" y="255"/>
                  </a:lnTo>
                  <a:lnTo>
                    <a:pt x="455" y="235"/>
                  </a:lnTo>
                  <a:lnTo>
                    <a:pt x="447" y="218"/>
                  </a:lnTo>
                  <a:lnTo>
                    <a:pt x="434" y="203"/>
                  </a:lnTo>
                  <a:lnTo>
                    <a:pt x="417" y="190"/>
                  </a:lnTo>
                  <a:lnTo>
                    <a:pt x="396" y="181"/>
                  </a:lnTo>
                  <a:lnTo>
                    <a:pt x="373" y="174"/>
                  </a:lnTo>
                  <a:lnTo>
                    <a:pt x="347" y="172"/>
                  </a:lnTo>
                  <a:lnTo>
                    <a:pt x="333" y="173"/>
                  </a:lnTo>
                  <a:lnTo>
                    <a:pt x="311" y="174"/>
                  </a:lnTo>
                  <a:lnTo>
                    <a:pt x="290" y="178"/>
                  </a:lnTo>
                  <a:lnTo>
                    <a:pt x="271" y="186"/>
                  </a:lnTo>
                  <a:lnTo>
                    <a:pt x="257" y="195"/>
                  </a:lnTo>
                  <a:lnTo>
                    <a:pt x="245" y="205"/>
                  </a:lnTo>
                  <a:lnTo>
                    <a:pt x="237" y="217"/>
                  </a:lnTo>
                  <a:lnTo>
                    <a:pt x="235" y="230"/>
                  </a:lnTo>
                  <a:lnTo>
                    <a:pt x="235" y="239"/>
                  </a:lnTo>
                  <a:lnTo>
                    <a:pt x="238" y="256"/>
                  </a:lnTo>
                  <a:lnTo>
                    <a:pt x="248" y="271"/>
                  </a:lnTo>
                  <a:lnTo>
                    <a:pt x="263" y="284"/>
                  </a:lnTo>
                  <a:lnTo>
                    <a:pt x="284" y="295"/>
                  </a:lnTo>
                  <a:lnTo>
                    <a:pt x="301" y="302"/>
                  </a:lnTo>
                  <a:lnTo>
                    <a:pt x="318" y="309"/>
                  </a:lnTo>
                  <a:lnTo>
                    <a:pt x="332" y="313"/>
                  </a:lnTo>
                  <a:lnTo>
                    <a:pt x="349" y="318"/>
                  </a:lnTo>
                  <a:lnTo>
                    <a:pt x="367" y="324"/>
                  </a:lnTo>
                  <a:lnTo>
                    <a:pt x="388" y="329"/>
                  </a:lnTo>
                  <a:lnTo>
                    <a:pt x="408" y="334"/>
                  </a:lnTo>
                  <a:lnTo>
                    <a:pt x="425" y="340"/>
                  </a:lnTo>
                  <a:lnTo>
                    <a:pt x="444" y="346"/>
                  </a:lnTo>
                  <a:lnTo>
                    <a:pt x="465" y="353"/>
                  </a:lnTo>
                  <a:lnTo>
                    <a:pt x="480" y="359"/>
                  </a:lnTo>
                  <a:lnTo>
                    <a:pt x="498" y="365"/>
                  </a:lnTo>
                  <a:lnTo>
                    <a:pt x="514" y="372"/>
                  </a:lnTo>
                  <a:lnTo>
                    <a:pt x="530" y="379"/>
                  </a:lnTo>
                  <a:lnTo>
                    <a:pt x="544" y="384"/>
                  </a:lnTo>
                  <a:lnTo>
                    <a:pt x="556" y="389"/>
                  </a:lnTo>
                  <a:lnTo>
                    <a:pt x="563" y="391"/>
                  </a:lnTo>
                  <a:lnTo>
                    <a:pt x="566" y="394"/>
                  </a:lnTo>
                  <a:lnTo>
                    <a:pt x="594" y="409"/>
                  </a:lnTo>
                  <a:lnTo>
                    <a:pt x="620" y="429"/>
                  </a:lnTo>
                  <a:lnTo>
                    <a:pt x="643" y="453"/>
                  </a:lnTo>
                  <a:lnTo>
                    <a:pt x="662" y="479"/>
                  </a:lnTo>
                  <a:lnTo>
                    <a:pt x="676" y="508"/>
                  </a:lnTo>
                  <a:lnTo>
                    <a:pt x="685" y="537"/>
                  </a:lnTo>
                  <a:lnTo>
                    <a:pt x="688" y="567"/>
                  </a:lnTo>
                  <a:lnTo>
                    <a:pt x="688" y="608"/>
                  </a:lnTo>
                  <a:lnTo>
                    <a:pt x="684" y="646"/>
                  </a:lnTo>
                  <a:lnTo>
                    <a:pt x="675" y="682"/>
                  </a:lnTo>
                  <a:lnTo>
                    <a:pt x="661" y="714"/>
                  </a:lnTo>
                  <a:lnTo>
                    <a:pt x="643" y="744"/>
                  </a:lnTo>
                  <a:lnTo>
                    <a:pt x="620" y="771"/>
                  </a:lnTo>
                  <a:lnTo>
                    <a:pt x="593" y="794"/>
                  </a:lnTo>
                  <a:lnTo>
                    <a:pt x="562" y="814"/>
                  </a:lnTo>
                  <a:lnTo>
                    <a:pt x="527" y="831"/>
                  </a:lnTo>
                  <a:lnTo>
                    <a:pt x="488" y="844"/>
                  </a:lnTo>
                  <a:lnTo>
                    <a:pt x="443" y="854"/>
                  </a:lnTo>
                  <a:lnTo>
                    <a:pt x="396" y="859"/>
                  </a:lnTo>
                  <a:lnTo>
                    <a:pt x="345" y="862"/>
                  </a:lnTo>
                  <a:lnTo>
                    <a:pt x="293" y="859"/>
                  </a:lnTo>
                  <a:lnTo>
                    <a:pt x="246" y="854"/>
                  </a:lnTo>
                  <a:lnTo>
                    <a:pt x="203" y="844"/>
                  </a:lnTo>
                  <a:lnTo>
                    <a:pt x="165" y="831"/>
                  </a:lnTo>
                  <a:lnTo>
                    <a:pt x="130" y="815"/>
                  </a:lnTo>
                  <a:lnTo>
                    <a:pt x="99" y="795"/>
                  </a:lnTo>
                  <a:lnTo>
                    <a:pt x="73" y="772"/>
                  </a:lnTo>
                  <a:lnTo>
                    <a:pt x="51" y="745"/>
                  </a:lnTo>
                  <a:lnTo>
                    <a:pt x="32" y="715"/>
                  </a:lnTo>
                  <a:lnTo>
                    <a:pt x="19" y="683"/>
                  </a:lnTo>
                  <a:lnTo>
                    <a:pt x="8" y="646"/>
                  </a:lnTo>
                  <a:lnTo>
                    <a:pt x="2" y="608"/>
                  </a:lnTo>
                  <a:lnTo>
                    <a:pt x="0" y="566"/>
                  </a:lnTo>
                  <a:lnTo>
                    <a:pt x="208" y="566"/>
                  </a:lnTo>
                  <a:lnTo>
                    <a:pt x="211" y="594"/>
                  </a:lnTo>
                  <a:lnTo>
                    <a:pt x="219" y="620"/>
                  </a:lnTo>
                  <a:lnTo>
                    <a:pt x="232" y="643"/>
                  </a:lnTo>
                  <a:lnTo>
                    <a:pt x="248" y="664"/>
                  </a:lnTo>
                  <a:lnTo>
                    <a:pt x="268" y="681"/>
                  </a:lnTo>
                  <a:lnTo>
                    <a:pt x="292" y="693"/>
                  </a:lnTo>
                  <a:lnTo>
                    <a:pt x="317" y="701"/>
                  </a:lnTo>
                  <a:lnTo>
                    <a:pt x="344" y="703"/>
                  </a:lnTo>
                  <a:lnTo>
                    <a:pt x="372" y="702"/>
                  </a:lnTo>
                  <a:lnTo>
                    <a:pt x="396" y="697"/>
                  </a:lnTo>
                  <a:lnTo>
                    <a:pt x="420" y="689"/>
                  </a:lnTo>
                  <a:lnTo>
                    <a:pt x="440" y="679"/>
                  </a:lnTo>
                  <a:lnTo>
                    <a:pt x="457" y="666"/>
                  </a:lnTo>
                  <a:lnTo>
                    <a:pt x="469" y="651"/>
                  </a:lnTo>
                  <a:lnTo>
                    <a:pt x="477" y="635"/>
                  </a:lnTo>
                  <a:lnTo>
                    <a:pt x="480" y="616"/>
                  </a:lnTo>
                  <a:lnTo>
                    <a:pt x="479" y="604"/>
                  </a:lnTo>
                  <a:lnTo>
                    <a:pt x="475" y="592"/>
                  </a:lnTo>
                  <a:lnTo>
                    <a:pt x="469" y="579"/>
                  </a:lnTo>
                  <a:lnTo>
                    <a:pt x="460" y="567"/>
                  </a:lnTo>
                  <a:lnTo>
                    <a:pt x="445" y="556"/>
                  </a:lnTo>
                  <a:lnTo>
                    <a:pt x="426" y="546"/>
                  </a:lnTo>
                  <a:lnTo>
                    <a:pt x="403" y="539"/>
                  </a:lnTo>
                  <a:lnTo>
                    <a:pt x="401" y="538"/>
                  </a:lnTo>
                  <a:lnTo>
                    <a:pt x="393" y="536"/>
                  </a:lnTo>
                  <a:lnTo>
                    <a:pt x="383" y="532"/>
                  </a:lnTo>
                  <a:lnTo>
                    <a:pt x="371" y="528"/>
                  </a:lnTo>
                  <a:lnTo>
                    <a:pt x="356" y="524"/>
                  </a:lnTo>
                  <a:lnTo>
                    <a:pt x="342" y="519"/>
                  </a:lnTo>
                  <a:lnTo>
                    <a:pt x="329" y="515"/>
                  </a:lnTo>
                  <a:lnTo>
                    <a:pt x="305" y="509"/>
                  </a:lnTo>
                  <a:lnTo>
                    <a:pt x="285" y="503"/>
                  </a:lnTo>
                  <a:lnTo>
                    <a:pt x="265" y="498"/>
                  </a:lnTo>
                  <a:lnTo>
                    <a:pt x="244" y="491"/>
                  </a:lnTo>
                  <a:lnTo>
                    <a:pt x="220" y="484"/>
                  </a:lnTo>
                  <a:lnTo>
                    <a:pt x="203" y="476"/>
                  </a:lnTo>
                  <a:lnTo>
                    <a:pt x="186" y="470"/>
                  </a:lnTo>
                  <a:lnTo>
                    <a:pt x="171" y="464"/>
                  </a:lnTo>
                  <a:lnTo>
                    <a:pt x="152" y="455"/>
                  </a:lnTo>
                  <a:lnTo>
                    <a:pt x="118" y="433"/>
                  </a:lnTo>
                  <a:lnTo>
                    <a:pt x="89" y="409"/>
                  </a:lnTo>
                  <a:lnTo>
                    <a:pt x="66" y="382"/>
                  </a:lnTo>
                  <a:lnTo>
                    <a:pt x="48" y="351"/>
                  </a:lnTo>
                  <a:lnTo>
                    <a:pt x="34" y="318"/>
                  </a:lnTo>
                  <a:lnTo>
                    <a:pt x="28" y="284"/>
                  </a:lnTo>
                  <a:lnTo>
                    <a:pt x="27" y="248"/>
                  </a:lnTo>
                  <a:lnTo>
                    <a:pt x="28" y="213"/>
                  </a:lnTo>
                  <a:lnTo>
                    <a:pt x="35" y="181"/>
                  </a:lnTo>
                  <a:lnTo>
                    <a:pt x="49" y="149"/>
                  </a:lnTo>
                  <a:lnTo>
                    <a:pt x="67" y="121"/>
                  </a:lnTo>
                  <a:lnTo>
                    <a:pt x="90" y="94"/>
                  </a:lnTo>
                  <a:lnTo>
                    <a:pt x="118" y="71"/>
                  </a:lnTo>
                  <a:lnTo>
                    <a:pt x="149" y="50"/>
                  </a:lnTo>
                  <a:lnTo>
                    <a:pt x="183" y="33"/>
                  </a:lnTo>
                  <a:lnTo>
                    <a:pt x="222" y="19"/>
                  </a:lnTo>
                  <a:lnTo>
                    <a:pt x="261" y="8"/>
                  </a:lnTo>
                  <a:lnTo>
                    <a:pt x="303" y="2"/>
                  </a:lnTo>
                  <a:lnTo>
                    <a:pt x="347" y="0"/>
                  </a:lnTo>
                  <a:close/>
                </a:path>
              </a:pathLst>
            </a:custGeom>
            <a:solidFill>
              <a:schemeClr val="tx1"/>
            </a:solidFill>
            <a:ln w="0">
              <a:noFill/>
              <a:prstDash val="solid"/>
              <a:round/>
              <a:headEnd/>
              <a:tailEnd/>
            </a:ln>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de-DE" sz="1799" b="0" i="0" u="none" strike="noStrike" kern="1200" cap="none" spc="0" normalizeH="0" baseline="0" noProof="0">
                <a:ln>
                  <a:noFill/>
                </a:ln>
                <a:solidFill>
                  <a:srgbClr val="000000"/>
                </a:solidFill>
                <a:effectLst/>
                <a:uLnTx/>
                <a:uFillTx/>
                <a:latin typeface="Arial"/>
                <a:ea typeface="+mn-ea"/>
                <a:cs typeface="+mn-cs"/>
              </a:endParaRPr>
            </a:p>
          </p:txBody>
        </p:sp>
      </p:grpSp>
      <p:pic>
        <p:nvPicPr>
          <p:cNvPr id="61" name="Picture 3">
            <a:extLst>
              <a:ext uri="{FF2B5EF4-FFF2-40B4-BE49-F238E27FC236}">
                <a16:creationId xmlns:a16="http://schemas.microsoft.com/office/drawing/2014/main" id="{A2F6466F-601D-4B90-9B2F-F256BC247340}"/>
              </a:ext>
            </a:extLst>
          </p:cNvPr>
          <p:cNvPicPr>
            <a:picLocks noChangeAspect="1" noChangeArrowheads="1"/>
          </p:cNvPicPr>
          <p:nvPr/>
        </p:nvPicPr>
        <p:blipFill rotWithShape="1">
          <a:blip r:embed="rId4" cstate="hqprint">
            <a:extLst>
              <a:ext uri="{28A0092B-C50C-407E-A947-70E740481C1C}">
                <a14:useLocalDpi xmlns:a14="http://schemas.microsoft.com/office/drawing/2010/main"/>
              </a:ext>
            </a:extLst>
          </a:blip>
          <a:srcRect/>
          <a:stretch/>
        </p:blipFill>
        <p:spPr bwMode="auto">
          <a:xfrm>
            <a:off x="10344126" y="-249"/>
            <a:ext cx="1847874" cy="281169"/>
          </a:xfrm>
          <a:prstGeom prst="rect">
            <a:avLst/>
          </a:prstGeom>
          <a:noFill/>
          <a:extLst>
            <a:ext uri="{909E8E84-426E-40DD-AFC4-6F175D3DCCD1}">
              <a14:hiddenFill xmlns:a14="http://schemas.microsoft.com/office/drawing/2010/main">
                <a:solidFill>
                  <a:srgbClr val="FFFFFF"/>
                </a:solidFill>
              </a14:hiddenFill>
            </a:ext>
          </a:extLst>
        </p:spPr>
      </p:pic>
      <p:sp>
        <p:nvSpPr>
          <p:cNvPr id="62" name="Textfeld 61">
            <a:extLst>
              <a:ext uri="{FF2B5EF4-FFF2-40B4-BE49-F238E27FC236}">
                <a16:creationId xmlns:a16="http://schemas.microsoft.com/office/drawing/2014/main" id="{AD7EE60E-658E-4EF3-B598-1FE478427395}"/>
              </a:ext>
            </a:extLst>
          </p:cNvPr>
          <p:cNvSpPr txBox="1"/>
          <p:nvPr/>
        </p:nvSpPr>
        <p:spPr>
          <a:xfrm>
            <a:off x="10344127" y="43715"/>
            <a:ext cx="1847873" cy="184570"/>
          </a:xfrm>
          <a:prstGeom prst="rect">
            <a:avLst/>
          </a:prstGeom>
          <a:noFill/>
        </p:spPr>
        <p:txBody>
          <a:bodyPr wrap="square" lIns="0" tIns="0" rIns="0" bIns="0" rtlCol="0">
            <a:sp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a:ln>
                  <a:noFill/>
                </a:ln>
                <a:solidFill>
                  <a:srgbClr val="FFFFFF"/>
                </a:solidFill>
                <a:effectLst/>
                <a:uLnTx/>
                <a:uFillTx/>
                <a:latin typeface="Arial"/>
                <a:ea typeface="+mn-ea"/>
                <a:cs typeface="+mn-cs"/>
              </a:rPr>
              <a:t>About SWM</a:t>
            </a:r>
          </a:p>
        </p:txBody>
      </p:sp>
      <p:sp>
        <p:nvSpPr>
          <p:cNvPr id="14" name="Titel 13">
            <a:extLst>
              <a:ext uri="{FF2B5EF4-FFF2-40B4-BE49-F238E27FC236}">
                <a16:creationId xmlns:a16="http://schemas.microsoft.com/office/drawing/2014/main" id="{49ACB136-76BD-BA95-22CF-DFCAB54540DC}"/>
              </a:ext>
            </a:extLst>
          </p:cNvPr>
          <p:cNvSpPr>
            <a:spLocks noGrp="1"/>
          </p:cNvSpPr>
          <p:nvPr>
            <p:ph type="title"/>
          </p:nvPr>
        </p:nvSpPr>
        <p:spPr/>
        <p:txBody>
          <a:bodyPr/>
          <a:lstStyle/>
          <a:p>
            <a:r>
              <a:rPr lang="en-US">
                <a:latin typeface="Arial"/>
                <a:cs typeface="Arial"/>
              </a:rPr>
              <a:t>Our services keep Munich running around the clock.</a:t>
            </a:r>
          </a:p>
        </p:txBody>
      </p:sp>
      <p:sp>
        <p:nvSpPr>
          <p:cNvPr id="3" name="Datumsplatzhalter 2">
            <a:extLst>
              <a:ext uri="{FF2B5EF4-FFF2-40B4-BE49-F238E27FC236}">
                <a16:creationId xmlns:a16="http://schemas.microsoft.com/office/drawing/2014/main" id="{74EA5388-1AF7-66C2-4CAD-2196E34DFD34}"/>
              </a:ext>
            </a:extLst>
          </p:cNvPr>
          <p:cNvSpPr>
            <a:spLocks noGrp="1"/>
          </p:cNvSpPr>
          <p:nvPr>
            <p:ph type="dt" sz="half" idx="2"/>
          </p:nvPr>
        </p:nvSpPr>
        <p:spPr/>
        <p:txBody>
          <a:bodyPr/>
          <a:lstStyle/>
          <a:p>
            <a:pPr marL="0" marR="0" lvl="0" indent="0" algn="r" defTabSz="913943" rtl="0" eaLnBrk="1" fontAlgn="auto" latinLnBrk="0" hangingPunct="1">
              <a:lnSpc>
                <a:spcPct val="100000"/>
              </a:lnSpc>
              <a:spcBef>
                <a:spcPts val="0"/>
              </a:spcBef>
              <a:spcAft>
                <a:spcPts val="0"/>
              </a:spcAft>
              <a:buClrTx/>
              <a:buSzTx/>
              <a:buFontTx/>
              <a:buNone/>
              <a:tabLst>
                <a:tab pos="1256671" algn="l"/>
                <a:tab pos="2687880" algn="l"/>
              </a:tabLst>
              <a:defRPr/>
            </a:pPr>
            <a:r>
              <a:rPr lang="en-US"/>
              <a:t>21</a:t>
            </a:r>
            <a:r>
              <a:rPr kumimoji="0" lang="en-US" sz="999" b="0" i="0" u="none" strike="noStrike" kern="1200" cap="none" spc="0" normalizeH="0" baseline="0" noProof="0">
                <a:ln>
                  <a:noFill/>
                </a:ln>
                <a:solidFill>
                  <a:srgbClr val="738792"/>
                </a:solidFill>
                <a:effectLst/>
                <a:uLnTx/>
                <a:uFillTx/>
                <a:latin typeface="Arial" pitchFamily="34" charset="0"/>
                <a:ea typeface="+mn-ea"/>
                <a:cs typeface="Arial" pitchFamily="34" charset="0"/>
              </a:rPr>
              <a:t>.03.</a:t>
            </a:r>
            <a:r>
              <a:rPr lang="en-US"/>
              <a:t>25</a:t>
            </a:r>
            <a:endParaRPr kumimoji="0" lang="en-US" sz="999" b="0" i="0" u="none" strike="noStrike" kern="1200" cap="none" spc="0" normalizeH="0" baseline="0" noProof="0">
              <a:ln>
                <a:noFill/>
              </a:ln>
              <a:solidFill>
                <a:srgbClr val="738792"/>
              </a:solidFill>
              <a:effectLst/>
              <a:uLnTx/>
              <a:uFillTx/>
              <a:latin typeface="Arial" pitchFamily="34" charset="0"/>
              <a:ea typeface="+mn-ea"/>
              <a:cs typeface="Arial" pitchFamily="34" charset="0"/>
            </a:endParaRPr>
          </a:p>
        </p:txBody>
      </p:sp>
      <p:sp>
        <p:nvSpPr>
          <p:cNvPr id="5" name="Fußzeilenplatzhalter 4">
            <a:extLst>
              <a:ext uri="{FF2B5EF4-FFF2-40B4-BE49-F238E27FC236}">
                <a16:creationId xmlns:a16="http://schemas.microsoft.com/office/drawing/2014/main" id="{89614AF8-AFFE-A0C1-1D3D-F935BFDD6236}"/>
              </a:ext>
            </a:extLst>
          </p:cNvPr>
          <p:cNvSpPr>
            <a:spLocks noGrp="1"/>
          </p:cNvSpPr>
          <p:nvPr>
            <p:ph type="ftr" sz="quarter" idx="3"/>
          </p:nvPr>
        </p:nvSpPr>
        <p:spPr>
          <a:xfrm>
            <a:off x="1397893" y="6507985"/>
            <a:ext cx="5481070" cy="153808"/>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tab pos="1256671" algn="l"/>
                <a:tab pos="2687880" algn="l"/>
              </a:tabLst>
              <a:defRPr/>
            </a:pPr>
            <a:r>
              <a:rPr kumimoji="0" lang="en-US" sz="999" b="0" i="0" u="none" strike="noStrike" kern="1200" cap="none" spc="0" normalizeH="0" baseline="0" noProof="0">
                <a:ln>
                  <a:noFill/>
                </a:ln>
                <a:solidFill>
                  <a:srgbClr val="738792"/>
                </a:solidFill>
                <a:effectLst/>
                <a:uLnTx/>
                <a:uFillTx/>
                <a:latin typeface="Arial" pitchFamily="34" charset="0"/>
                <a:ea typeface="+mn-ea"/>
                <a:cs typeface="Arial" pitchFamily="34" charset="0"/>
              </a:rPr>
              <a:t>/ Stadtwerke München</a:t>
            </a:r>
          </a:p>
        </p:txBody>
      </p:sp>
      <p:grpSp>
        <p:nvGrpSpPr>
          <p:cNvPr id="13" name="Gruppieren 12">
            <a:extLst>
              <a:ext uri="{FF2B5EF4-FFF2-40B4-BE49-F238E27FC236}">
                <a16:creationId xmlns:a16="http://schemas.microsoft.com/office/drawing/2014/main" id="{1D1C1F39-238C-4D25-C13B-3FAF4AACCE15}"/>
              </a:ext>
            </a:extLst>
          </p:cNvPr>
          <p:cNvGrpSpPr/>
          <p:nvPr/>
        </p:nvGrpSpPr>
        <p:grpSpPr>
          <a:xfrm>
            <a:off x="309332" y="1461673"/>
            <a:ext cx="1763082" cy="4561642"/>
            <a:chOff x="309493" y="1460648"/>
            <a:chExt cx="1764000" cy="4564018"/>
          </a:xfrm>
        </p:grpSpPr>
        <p:sp>
          <p:nvSpPr>
            <p:cNvPr id="21" name="Rechteck 20">
              <a:extLst>
                <a:ext uri="{FF2B5EF4-FFF2-40B4-BE49-F238E27FC236}">
                  <a16:creationId xmlns:a16="http://schemas.microsoft.com/office/drawing/2014/main" id="{9978DDA1-E099-AACE-87E8-D0D2D135A80E}"/>
                </a:ext>
              </a:extLst>
            </p:cNvPr>
            <p:cNvSpPr/>
            <p:nvPr/>
          </p:nvSpPr>
          <p:spPr>
            <a:xfrm>
              <a:off x="309493" y="4031940"/>
              <a:ext cx="1764000" cy="1992726"/>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29" rtl="0" eaLnBrk="1" fontAlgn="auto" latinLnBrk="0" hangingPunct="1">
                <a:lnSpc>
                  <a:spcPct val="100000"/>
                </a:lnSpc>
                <a:spcBef>
                  <a:spcPts val="0"/>
                </a:spcBef>
                <a:spcAft>
                  <a:spcPts val="0"/>
                </a:spcAft>
                <a:buClrTx/>
                <a:buSzTx/>
                <a:buFontTx/>
                <a:buNone/>
                <a:tabLst/>
                <a:defRPr/>
              </a:pPr>
              <a:endParaRPr kumimoji="0" lang="de-DE" sz="1797" b="0" i="0" u="none" strike="noStrike" kern="1200" cap="none" spc="0" normalizeH="0" baseline="0" noProof="0">
                <a:ln>
                  <a:noFill/>
                </a:ln>
                <a:solidFill>
                  <a:prstClr val="white"/>
                </a:solidFill>
                <a:effectLst/>
                <a:uLnTx/>
                <a:uFillTx/>
                <a:latin typeface="Arial"/>
                <a:ea typeface="+mn-ea"/>
                <a:cs typeface="+mn-cs"/>
              </a:endParaRPr>
            </a:p>
          </p:txBody>
        </p:sp>
        <p:pic>
          <p:nvPicPr>
            <p:cNvPr id="50" name="Grafik 49">
              <a:extLst>
                <a:ext uri="{FF2B5EF4-FFF2-40B4-BE49-F238E27FC236}">
                  <a16:creationId xmlns:a16="http://schemas.microsoft.com/office/drawing/2014/main" id="{8FF4A8C3-B870-2F72-66CE-AFA2F3BD4BEC}"/>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309493" y="2178126"/>
              <a:ext cx="1764000" cy="2276467"/>
            </a:xfrm>
            <a:prstGeom prst="rect">
              <a:avLst/>
            </a:prstGeom>
          </p:spPr>
        </p:pic>
        <p:sp>
          <p:nvSpPr>
            <p:cNvPr id="16" name="Textfeld 15">
              <a:extLst>
                <a:ext uri="{FF2B5EF4-FFF2-40B4-BE49-F238E27FC236}">
                  <a16:creationId xmlns:a16="http://schemas.microsoft.com/office/drawing/2014/main" id="{765D5A69-CD19-C748-9A15-67D115F5DABB}"/>
                </a:ext>
              </a:extLst>
            </p:cNvPr>
            <p:cNvSpPr txBox="1"/>
            <p:nvPr/>
          </p:nvSpPr>
          <p:spPr>
            <a:xfrm>
              <a:off x="415154" y="4594945"/>
              <a:ext cx="1566137" cy="738664"/>
            </a:xfrm>
            <a:prstGeom prst="rect">
              <a:avLst/>
            </a:prstGeom>
            <a:noFill/>
          </p:spPr>
          <p:txBody>
            <a:bodyPr wrap="square" lIns="0" tIns="0" rIns="0" bIns="0" rtlCol="0" anchor="t">
              <a:spAutoFit/>
            </a:bodyPr>
            <a:lstStyle/>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Reliable and climate-friendly </a:t>
              </a:r>
            </a:p>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power supply</a:t>
              </a:r>
            </a:p>
          </p:txBody>
        </p:sp>
        <p:sp>
          <p:nvSpPr>
            <p:cNvPr id="37" name="Rechteck 36">
              <a:extLst>
                <a:ext uri="{FF2B5EF4-FFF2-40B4-BE49-F238E27FC236}">
                  <a16:creationId xmlns:a16="http://schemas.microsoft.com/office/drawing/2014/main" id="{814A14D9-6077-4DE0-8B8E-4855687829D1}"/>
                </a:ext>
              </a:extLst>
            </p:cNvPr>
            <p:cNvSpPr/>
            <p:nvPr/>
          </p:nvSpPr>
          <p:spPr>
            <a:xfrm>
              <a:off x="309493" y="1460648"/>
              <a:ext cx="1764000" cy="74912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599" b="1" i="0" u="none" strike="noStrike" kern="1200" cap="none" spc="0" normalizeH="0" baseline="0" noProof="0">
                <a:ln>
                  <a:noFill/>
                </a:ln>
                <a:solidFill>
                  <a:srgbClr val="FFFFFF"/>
                </a:solidFill>
                <a:effectLst/>
                <a:uLnTx/>
                <a:uFillTx/>
                <a:latin typeface="Arial"/>
                <a:ea typeface="+mn-ea"/>
                <a:cs typeface="+mn-cs"/>
              </a:endParaRPr>
            </a:p>
          </p:txBody>
        </p:sp>
        <p:pic>
          <p:nvPicPr>
            <p:cNvPr id="51" name="Grafik 50">
              <a:extLst>
                <a:ext uri="{FF2B5EF4-FFF2-40B4-BE49-F238E27FC236}">
                  <a16:creationId xmlns:a16="http://schemas.microsoft.com/office/drawing/2014/main" id="{6F4F0A48-DBAA-4B9A-86A3-30C497BBBA8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3055" y="1603387"/>
              <a:ext cx="445934" cy="432000"/>
            </a:xfrm>
            <a:prstGeom prst="rect">
              <a:avLst/>
            </a:prstGeom>
          </p:spPr>
        </p:pic>
      </p:grpSp>
      <p:grpSp>
        <p:nvGrpSpPr>
          <p:cNvPr id="19" name="Gruppieren 18">
            <a:extLst>
              <a:ext uri="{FF2B5EF4-FFF2-40B4-BE49-F238E27FC236}">
                <a16:creationId xmlns:a16="http://schemas.microsoft.com/office/drawing/2014/main" id="{A2678A78-2253-EF53-2584-24E0332A6FF5}"/>
              </a:ext>
            </a:extLst>
          </p:cNvPr>
          <p:cNvGrpSpPr/>
          <p:nvPr/>
        </p:nvGrpSpPr>
        <p:grpSpPr>
          <a:xfrm>
            <a:off x="4227715" y="1469996"/>
            <a:ext cx="1763082" cy="4553319"/>
            <a:chOff x="4215060" y="1468975"/>
            <a:chExt cx="1764000" cy="4555691"/>
          </a:xfrm>
        </p:grpSpPr>
        <p:sp>
          <p:nvSpPr>
            <p:cNvPr id="26" name="Rechteck 25">
              <a:extLst>
                <a:ext uri="{FF2B5EF4-FFF2-40B4-BE49-F238E27FC236}">
                  <a16:creationId xmlns:a16="http://schemas.microsoft.com/office/drawing/2014/main" id="{D6192481-B15D-58F2-0C52-7372B6FCB831}"/>
                </a:ext>
              </a:extLst>
            </p:cNvPr>
            <p:cNvSpPr/>
            <p:nvPr/>
          </p:nvSpPr>
          <p:spPr>
            <a:xfrm>
              <a:off x="4215060" y="4031940"/>
              <a:ext cx="1764000" cy="1992726"/>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29" rtl="0" eaLnBrk="1" fontAlgn="auto" latinLnBrk="0" hangingPunct="1">
                <a:lnSpc>
                  <a:spcPct val="100000"/>
                </a:lnSpc>
                <a:spcBef>
                  <a:spcPts val="0"/>
                </a:spcBef>
                <a:spcAft>
                  <a:spcPts val="0"/>
                </a:spcAft>
                <a:buClrTx/>
                <a:buSzTx/>
                <a:buFontTx/>
                <a:buNone/>
                <a:tabLst/>
                <a:defRPr/>
              </a:pPr>
              <a:endParaRPr kumimoji="0" lang="de-DE" sz="1797" b="0" i="0" u="none" strike="noStrike" kern="1200" cap="none" spc="0" normalizeH="0" baseline="0" noProof="0">
                <a:ln>
                  <a:noFill/>
                </a:ln>
                <a:solidFill>
                  <a:prstClr val="white"/>
                </a:solidFill>
                <a:effectLst/>
                <a:uLnTx/>
                <a:uFillTx/>
                <a:latin typeface="Arial"/>
                <a:ea typeface="+mn-ea"/>
                <a:cs typeface="+mn-cs"/>
              </a:endParaRPr>
            </a:p>
          </p:txBody>
        </p:sp>
        <p:sp>
          <p:nvSpPr>
            <p:cNvPr id="35" name="Textfeld 34">
              <a:extLst>
                <a:ext uri="{FF2B5EF4-FFF2-40B4-BE49-F238E27FC236}">
                  <a16:creationId xmlns:a16="http://schemas.microsoft.com/office/drawing/2014/main" id="{1E808244-8469-BE42-8502-3088B84F17D5}"/>
                </a:ext>
              </a:extLst>
            </p:cNvPr>
            <p:cNvSpPr txBox="1"/>
            <p:nvPr/>
          </p:nvSpPr>
          <p:spPr>
            <a:xfrm>
              <a:off x="4327148" y="4579678"/>
              <a:ext cx="1544036" cy="738664"/>
            </a:xfrm>
            <a:prstGeom prst="rect">
              <a:avLst/>
            </a:prstGeom>
            <a:noFill/>
          </p:spPr>
          <p:txBody>
            <a:bodyPr wrap="square" lIns="0" tIns="0" rIns="0" bIns="0" rtlCol="0">
              <a:spAutoFit/>
            </a:bodyPr>
            <a:lstStyle/>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Highly efficient and sustainable </a:t>
              </a:r>
            </a:p>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mobility services</a:t>
              </a:r>
            </a:p>
          </p:txBody>
        </p:sp>
        <p:pic>
          <p:nvPicPr>
            <p:cNvPr id="7" name="Grafik 6">
              <a:extLst>
                <a:ext uri="{FF2B5EF4-FFF2-40B4-BE49-F238E27FC236}">
                  <a16:creationId xmlns:a16="http://schemas.microsoft.com/office/drawing/2014/main" id="{452BDB0A-ED09-5021-6506-5EE23F2597F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4215060" y="2166526"/>
              <a:ext cx="1764000" cy="2276467"/>
            </a:xfrm>
            <a:prstGeom prst="rect">
              <a:avLst/>
            </a:prstGeom>
          </p:spPr>
        </p:pic>
        <p:sp>
          <p:nvSpPr>
            <p:cNvPr id="48" name="Rechteck 47">
              <a:extLst>
                <a:ext uri="{FF2B5EF4-FFF2-40B4-BE49-F238E27FC236}">
                  <a16:creationId xmlns:a16="http://schemas.microsoft.com/office/drawing/2014/main" id="{CFA330D2-18B2-4586-89FD-00E23FE46231}"/>
                </a:ext>
              </a:extLst>
            </p:cNvPr>
            <p:cNvSpPr/>
            <p:nvPr/>
          </p:nvSpPr>
          <p:spPr>
            <a:xfrm>
              <a:off x="4215060" y="1468975"/>
              <a:ext cx="1764000" cy="749121"/>
            </a:xfrm>
            <a:prstGeom prst="rect">
              <a:avLst/>
            </a:prstGeom>
            <a:solidFill>
              <a:srgbClr val="4562A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599" b="1" i="0" u="none" strike="noStrike" kern="1200" cap="none" spc="0" normalizeH="0" baseline="0" noProof="0">
                <a:ln>
                  <a:noFill/>
                </a:ln>
                <a:solidFill>
                  <a:srgbClr val="FFFFFF"/>
                </a:solidFill>
                <a:effectLst/>
                <a:uLnTx/>
                <a:uFillTx/>
                <a:latin typeface="Arial"/>
                <a:ea typeface="+mn-ea"/>
                <a:cs typeface="+mn-cs"/>
              </a:endParaRPr>
            </a:p>
          </p:txBody>
        </p:sp>
        <p:pic>
          <p:nvPicPr>
            <p:cNvPr id="52" name="Grafik 51">
              <a:extLst>
                <a:ext uri="{FF2B5EF4-FFF2-40B4-BE49-F238E27FC236}">
                  <a16:creationId xmlns:a16="http://schemas.microsoft.com/office/drawing/2014/main" id="{30710621-C487-4223-975C-CD470351DA3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88133" y="1631474"/>
              <a:ext cx="565715" cy="432000"/>
            </a:xfrm>
            <a:prstGeom prst="rect">
              <a:avLst/>
            </a:prstGeom>
          </p:spPr>
        </p:pic>
      </p:grpSp>
      <p:grpSp>
        <p:nvGrpSpPr>
          <p:cNvPr id="22" name="Gruppieren 21">
            <a:extLst>
              <a:ext uri="{FF2B5EF4-FFF2-40B4-BE49-F238E27FC236}">
                <a16:creationId xmlns:a16="http://schemas.microsoft.com/office/drawing/2014/main" id="{6115FF4A-0111-862F-45B1-2C9AF4512D08}"/>
              </a:ext>
            </a:extLst>
          </p:cNvPr>
          <p:cNvGrpSpPr/>
          <p:nvPr/>
        </p:nvGrpSpPr>
        <p:grpSpPr>
          <a:xfrm>
            <a:off x="6186907" y="1468231"/>
            <a:ext cx="1763082" cy="4555085"/>
            <a:chOff x="6188083" y="1467209"/>
            <a:chExt cx="1764000" cy="4557457"/>
          </a:xfrm>
        </p:grpSpPr>
        <p:sp>
          <p:nvSpPr>
            <p:cNvPr id="27" name="Rechteck 26">
              <a:extLst>
                <a:ext uri="{FF2B5EF4-FFF2-40B4-BE49-F238E27FC236}">
                  <a16:creationId xmlns:a16="http://schemas.microsoft.com/office/drawing/2014/main" id="{63DFDDC0-4513-A9EF-3243-99983A930935}"/>
                </a:ext>
              </a:extLst>
            </p:cNvPr>
            <p:cNvSpPr/>
            <p:nvPr/>
          </p:nvSpPr>
          <p:spPr>
            <a:xfrm>
              <a:off x="6188083" y="4031940"/>
              <a:ext cx="1764000" cy="1992726"/>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29" rtl="0" eaLnBrk="1" fontAlgn="auto" latinLnBrk="0" hangingPunct="1">
                <a:lnSpc>
                  <a:spcPct val="100000"/>
                </a:lnSpc>
                <a:spcBef>
                  <a:spcPts val="0"/>
                </a:spcBef>
                <a:spcAft>
                  <a:spcPts val="0"/>
                </a:spcAft>
                <a:buClrTx/>
                <a:buSzTx/>
                <a:buFontTx/>
                <a:buNone/>
                <a:tabLst/>
                <a:defRPr/>
              </a:pPr>
              <a:endParaRPr kumimoji="0" lang="de-DE" sz="1797" b="0" i="0" u="none" strike="noStrike" kern="1200" cap="none" spc="0" normalizeH="0" baseline="0" noProof="0">
                <a:ln>
                  <a:noFill/>
                </a:ln>
                <a:solidFill>
                  <a:prstClr val="white"/>
                </a:solidFill>
                <a:effectLst/>
                <a:uLnTx/>
                <a:uFillTx/>
                <a:latin typeface="Arial"/>
                <a:ea typeface="+mn-ea"/>
                <a:cs typeface="+mn-cs"/>
              </a:endParaRPr>
            </a:p>
          </p:txBody>
        </p:sp>
        <p:sp>
          <p:nvSpPr>
            <p:cNvPr id="30" name="Textfeld 29">
              <a:extLst>
                <a:ext uri="{FF2B5EF4-FFF2-40B4-BE49-F238E27FC236}">
                  <a16:creationId xmlns:a16="http://schemas.microsoft.com/office/drawing/2014/main" id="{7DB93610-7315-5F45-AB21-39FB0A651A24}"/>
                </a:ext>
              </a:extLst>
            </p:cNvPr>
            <p:cNvSpPr txBox="1"/>
            <p:nvPr/>
          </p:nvSpPr>
          <p:spPr>
            <a:xfrm>
              <a:off x="6261710" y="4574163"/>
              <a:ext cx="1609840" cy="984885"/>
            </a:xfrm>
            <a:prstGeom prst="rect">
              <a:avLst/>
            </a:prstGeom>
            <a:noFill/>
          </p:spPr>
          <p:txBody>
            <a:bodyPr wrap="square" lIns="0" tIns="0" rIns="0" bIns="0" rtlCol="0">
              <a:spAutoFit/>
            </a:bodyPr>
            <a:lstStyle/>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Secure supply </a:t>
              </a:r>
              <a:br>
                <a:rPr kumimoji="0" lang="en-US" sz="1599" b="0" i="0" u="none" strike="noStrike" kern="1200" cap="none" spc="0" normalizeH="0" baseline="0" noProof="0">
                  <a:ln>
                    <a:noFill/>
                  </a:ln>
                  <a:solidFill>
                    <a:srgbClr val="000000"/>
                  </a:solidFill>
                  <a:effectLst/>
                  <a:uLnTx/>
                  <a:uFillTx/>
                  <a:latin typeface="Arial"/>
                  <a:ea typeface="+mn-ea"/>
                  <a:cs typeface="+mn-cs"/>
                </a:rPr>
              </a:br>
              <a:r>
                <a:rPr kumimoji="0" lang="en-US" sz="1599" b="0" i="0" u="none" strike="noStrike" kern="1200" cap="none" spc="0" normalizeH="0" baseline="0" noProof="0">
                  <a:ln>
                    <a:noFill/>
                  </a:ln>
                  <a:solidFill>
                    <a:srgbClr val="000000"/>
                  </a:solidFill>
                  <a:effectLst/>
                  <a:uLnTx/>
                  <a:uFillTx/>
                  <a:latin typeface="Arial"/>
                  <a:ea typeface="+mn-ea"/>
                  <a:cs typeface="+mn-cs"/>
                </a:rPr>
                <a:t>of fresh drinking water, directly from the source</a:t>
              </a:r>
            </a:p>
          </p:txBody>
        </p:sp>
        <p:pic>
          <p:nvPicPr>
            <p:cNvPr id="9" name="Grafik 8">
              <a:extLst>
                <a:ext uri="{FF2B5EF4-FFF2-40B4-BE49-F238E27FC236}">
                  <a16:creationId xmlns:a16="http://schemas.microsoft.com/office/drawing/2014/main" id="{F1FA42E8-BEA6-106C-47D1-8891523A62C4}"/>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6188083" y="2144309"/>
              <a:ext cx="1764000" cy="2276467"/>
            </a:xfrm>
            <a:prstGeom prst="rect">
              <a:avLst/>
            </a:prstGeom>
          </p:spPr>
        </p:pic>
        <p:sp>
          <p:nvSpPr>
            <p:cNvPr id="53" name="Rechteck 52">
              <a:extLst>
                <a:ext uri="{FF2B5EF4-FFF2-40B4-BE49-F238E27FC236}">
                  <a16:creationId xmlns:a16="http://schemas.microsoft.com/office/drawing/2014/main" id="{A9E6B30B-E7E5-40A6-8B70-8E5CA5D7E181}"/>
                </a:ext>
              </a:extLst>
            </p:cNvPr>
            <p:cNvSpPr/>
            <p:nvPr/>
          </p:nvSpPr>
          <p:spPr>
            <a:xfrm>
              <a:off x="6188083" y="1467209"/>
              <a:ext cx="1764000" cy="74912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599" b="1" i="0" u="none" strike="noStrike" kern="1200" cap="none" spc="0" normalizeH="0" baseline="0" noProof="0">
                <a:ln>
                  <a:noFill/>
                </a:ln>
                <a:solidFill>
                  <a:srgbClr val="FFFFFF"/>
                </a:solidFill>
                <a:effectLst/>
                <a:uLnTx/>
                <a:uFillTx/>
                <a:latin typeface="Arial"/>
                <a:ea typeface="+mn-ea"/>
                <a:cs typeface="+mn-cs"/>
              </a:endParaRPr>
            </a:p>
          </p:txBody>
        </p:sp>
        <p:pic>
          <p:nvPicPr>
            <p:cNvPr id="54" name="Grafik 53">
              <a:extLst>
                <a:ext uri="{FF2B5EF4-FFF2-40B4-BE49-F238E27FC236}">
                  <a16:creationId xmlns:a16="http://schemas.microsoft.com/office/drawing/2014/main" id="{77E92201-C847-43F8-B8E6-FFD20B5E741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909503" y="1606991"/>
              <a:ext cx="328865" cy="468000"/>
            </a:xfrm>
            <a:prstGeom prst="rect">
              <a:avLst/>
            </a:prstGeom>
          </p:spPr>
        </p:pic>
      </p:grpSp>
      <p:grpSp>
        <p:nvGrpSpPr>
          <p:cNvPr id="29" name="Gruppieren 28">
            <a:extLst>
              <a:ext uri="{FF2B5EF4-FFF2-40B4-BE49-F238E27FC236}">
                <a16:creationId xmlns:a16="http://schemas.microsoft.com/office/drawing/2014/main" id="{15855FFE-1FD0-E6F4-0353-FB396BB5EA0A}"/>
              </a:ext>
            </a:extLst>
          </p:cNvPr>
          <p:cNvGrpSpPr/>
          <p:nvPr/>
        </p:nvGrpSpPr>
        <p:grpSpPr>
          <a:xfrm>
            <a:off x="10105483" y="1473932"/>
            <a:ext cx="1763274" cy="4549383"/>
            <a:chOff x="10110746" y="1472914"/>
            <a:chExt cx="1764192" cy="4551752"/>
          </a:xfrm>
        </p:grpSpPr>
        <p:sp>
          <p:nvSpPr>
            <p:cNvPr id="63" name="Rechteck 62">
              <a:extLst>
                <a:ext uri="{FF2B5EF4-FFF2-40B4-BE49-F238E27FC236}">
                  <a16:creationId xmlns:a16="http://schemas.microsoft.com/office/drawing/2014/main" id="{CA5BD21F-D74D-DBA4-A3F5-64AB45217ACA}"/>
                </a:ext>
              </a:extLst>
            </p:cNvPr>
            <p:cNvSpPr/>
            <p:nvPr/>
          </p:nvSpPr>
          <p:spPr>
            <a:xfrm>
              <a:off x="10110938" y="4031940"/>
              <a:ext cx="1764000" cy="1992726"/>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29" rtl="0" eaLnBrk="1" fontAlgn="auto" latinLnBrk="0" hangingPunct="1">
                <a:lnSpc>
                  <a:spcPct val="100000"/>
                </a:lnSpc>
                <a:spcBef>
                  <a:spcPts val="0"/>
                </a:spcBef>
                <a:spcAft>
                  <a:spcPts val="0"/>
                </a:spcAft>
                <a:buClrTx/>
                <a:buSzTx/>
                <a:buFontTx/>
                <a:buNone/>
                <a:tabLst/>
                <a:defRPr/>
              </a:pPr>
              <a:endParaRPr kumimoji="0" lang="de-DE" sz="1797" b="0" i="0" u="none" strike="noStrike" kern="1200" cap="none" spc="0" normalizeH="0" baseline="0" noProof="0">
                <a:ln>
                  <a:noFill/>
                </a:ln>
                <a:solidFill>
                  <a:prstClr val="white"/>
                </a:solidFill>
                <a:effectLst/>
                <a:uLnTx/>
                <a:uFillTx/>
                <a:latin typeface="Arial"/>
                <a:ea typeface="+mn-ea"/>
                <a:cs typeface="+mn-cs"/>
              </a:endParaRPr>
            </a:p>
          </p:txBody>
        </p:sp>
        <p:sp>
          <p:nvSpPr>
            <p:cNvPr id="20" name="Textfeld 19">
              <a:extLst>
                <a:ext uri="{FF2B5EF4-FFF2-40B4-BE49-F238E27FC236}">
                  <a16:creationId xmlns:a16="http://schemas.microsoft.com/office/drawing/2014/main" id="{DEC5E02B-1ACD-1B49-9738-ED238A5E3E15}"/>
                </a:ext>
              </a:extLst>
            </p:cNvPr>
            <p:cNvSpPr txBox="1"/>
            <p:nvPr/>
          </p:nvSpPr>
          <p:spPr>
            <a:xfrm>
              <a:off x="10158486" y="4563463"/>
              <a:ext cx="1676468" cy="984885"/>
            </a:xfrm>
            <a:prstGeom prst="rect">
              <a:avLst/>
            </a:prstGeom>
            <a:noFill/>
          </p:spPr>
          <p:txBody>
            <a:bodyPr wrap="square" lIns="0" tIns="0" rIns="0" bIns="0" rtlCol="0" anchor="t">
              <a:spAutoFit/>
            </a:bodyPr>
            <a:lstStyle/>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Leisure and </a:t>
              </a:r>
              <a:br>
                <a:rPr kumimoji="0" lang="en-US" sz="1599" b="0" i="0" u="none" strike="noStrike" kern="1200" cap="none" spc="0" normalizeH="0" baseline="0" noProof="0">
                  <a:ln>
                    <a:noFill/>
                  </a:ln>
                  <a:solidFill>
                    <a:srgbClr val="000000"/>
                  </a:solidFill>
                  <a:effectLst/>
                  <a:uLnTx/>
                  <a:uFillTx/>
                  <a:latin typeface="Arial"/>
                  <a:ea typeface="+mn-ea"/>
                  <a:cs typeface="+mn-cs"/>
                </a:rPr>
              </a:br>
              <a:r>
                <a:rPr kumimoji="0" lang="en-US" sz="1599" b="0" i="0" u="none" strike="noStrike" kern="1200" cap="none" spc="0" normalizeH="0" baseline="0" noProof="0">
                  <a:ln>
                    <a:noFill/>
                  </a:ln>
                  <a:solidFill>
                    <a:srgbClr val="000000"/>
                  </a:solidFill>
                  <a:effectLst/>
                  <a:uLnTx/>
                  <a:uFillTx/>
                  <a:latin typeface="Arial"/>
                  <a:ea typeface="+mn-ea"/>
                  <a:cs typeface="+mn-cs"/>
                </a:rPr>
                <a:t>health services </a:t>
              </a:r>
              <a:br>
                <a:rPr kumimoji="0" lang="en-US" sz="1599" b="0" i="0" u="none" strike="noStrike" kern="1200" cap="none" spc="0" normalizeH="0" baseline="0" noProof="0">
                  <a:ln>
                    <a:noFill/>
                  </a:ln>
                  <a:solidFill>
                    <a:srgbClr val="000000"/>
                  </a:solidFill>
                  <a:effectLst/>
                  <a:uLnTx/>
                  <a:uFillTx/>
                  <a:latin typeface="Arial"/>
                  <a:ea typeface="+mn-ea"/>
                  <a:cs typeface="+mn-cs"/>
                </a:rPr>
              </a:br>
              <a:r>
                <a:rPr kumimoji="0" lang="en-US" sz="1599" b="0" i="0" u="none" strike="noStrike" kern="1200" cap="none" spc="0" normalizeH="0" baseline="0" noProof="0">
                  <a:ln>
                    <a:noFill/>
                  </a:ln>
                  <a:solidFill>
                    <a:srgbClr val="000000"/>
                  </a:solidFill>
                  <a:effectLst/>
                  <a:uLnTx/>
                  <a:uFillTx/>
                  <a:latin typeface="Arial"/>
                  <a:ea typeface="+mn-ea"/>
                  <a:cs typeface="+mn-cs"/>
                </a:rPr>
                <a:t>for all in the </a:t>
              </a:r>
              <a:br>
                <a:rPr kumimoji="0" lang="en-US" sz="1599" b="0" i="0" u="none" strike="noStrike" kern="1200" cap="none" spc="0" normalizeH="0" baseline="0" noProof="0">
                  <a:ln>
                    <a:noFill/>
                  </a:ln>
                  <a:solidFill>
                    <a:srgbClr val="000000"/>
                  </a:solidFill>
                  <a:effectLst/>
                  <a:uLnTx/>
                  <a:uFillTx/>
                  <a:latin typeface="Arial"/>
                  <a:ea typeface="+mn-ea"/>
                  <a:cs typeface="+mn-cs"/>
                </a:rPr>
              </a:br>
              <a:r>
                <a:rPr kumimoji="0" lang="en-US" sz="1599" b="0" i="0" u="none" strike="noStrike" kern="1200" cap="none" spc="0" normalizeH="0" baseline="0" noProof="0">
                  <a:ln>
                    <a:noFill/>
                  </a:ln>
                  <a:solidFill>
                    <a:srgbClr val="000000"/>
                  </a:solidFill>
                  <a:effectLst/>
                  <a:uLnTx/>
                  <a:uFillTx/>
                  <a:latin typeface="Arial"/>
                  <a:ea typeface="+mn-ea"/>
                  <a:cs typeface="+mn-cs"/>
                </a:rPr>
                <a:t>M-</a:t>
              </a:r>
              <a:r>
                <a:rPr kumimoji="0" lang="en-US" sz="1599" b="0" i="0" u="none" strike="noStrike" kern="1200" cap="none" spc="0" normalizeH="0" baseline="0" noProof="0" err="1">
                  <a:ln>
                    <a:noFill/>
                  </a:ln>
                  <a:solidFill>
                    <a:srgbClr val="000000"/>
                  </a:solidFill>
                  <a:effectLst/>
                  <a:uLnTx/>
                  <a:uFillTx/>
                  <a:latin typeface="Arial"/>
                  <a:ea typeface="+mn-ea"/>
                  <a:cs typeface="+mn-cs"/>
                </a:rPr>
                <a:t>Bäder</a:t>
              </a:r>
              <a:endParaRPr kumimoji="0" lang="en-US" sz="1599" b="0" i="0" u="none" strike="noStrike" kern="1200" cap="none" spc="0" normalizeH="0" baseline="0" noProof="0">
                <a:ln>
                  <a:noFill/>
                </a:ln>
                <a:solidFill>
                  <a:srgbClr val="000000"/>
                </a:solidFill>
                <a:effectLst/>
                <a:uLnTx/>
                <a:uFillTx/>
                <a:latin typeface="Arial"/>
                <a:ea typeface="+mn-ea"/>
                <a:cs typeface="+mn-cs"/>
              </a:endParaRPr>
            </a:p>
          </p:txBody>
        </p:sp>
        <p:pic>
          <p:nvPicPr>
            <p:cNvPr id="11" name="Grafik 10">
              <a:extLst>
                <a:ext uri="{FF2B5EF4-FFF2-40B4-BE49-F238E27FC236}">
                  <a16:creationId xmlns:a16="http://schemas.microsoft.com/office/drawing/2014/main" id="{5FF603E8-A3A6-06D9-D24F-F295A31E7D11}"/>
                </a:ext>
              </a:extLst>
            </p:cNvPr>
            <p:cNvPicPr>
              <a:picLocks noChangeAspect="1"/>
            </p:cNvPicPr>
            <p:nvPr/>
          </p:nvPicPr>
          <p:blipFill rotWithShape="1">
            <a:blip r:embed="rId14" cstate="hqprint">
              <a:extLst>
                <a:ext uri="{28A0092B-C50C-407E-A947-70E740481C1C}">
                  <a14:useLocalDpi xmlns:a14="http://schemas.microsoft.com/office/drawing/2010/main"/>
                </a:ext>
              </a:extLst>
            </a:blip>
            <a:srcRect/>
            <a:stretch/>
          </p:blipFill>
          <p:spPr>
            <a:xfrm>
              <a:off x="10110938" y="2154285"/>
              <a:ext cx="1764000" cy="2276467"/>
            </a:xfrm>
            <a:prstGeom prst="rect">
              <a:avLst/>
            </a:prstGeom>
          </p:spPr>
        </p:pic>
        <p:sp>
          <p:nvSpPr>
            <p:cNvPr id="57" name="Rechteck 56">
              <a:extLst>
                <a:ext uri="{FF2B5EF4-FFF2-40B4-BE49-F238E27FC236}">
                  <a16:creationId xmlns:a16="http://schemas.microsoft.com/office/drawing/2014/main" id="{9353D21C-E60D-48DC-8EA1-CE0544A71859}"/>
                </a:ext>
              </a:extLst>
            </p:cNvPr>
            <p:cNvSpPr/>
            <p:nvPr/>
          </p:nvSpPr>
          <p:spPr>
            <a:xfrm>
              <a:off x="10110746" y="1472914"/>
              <a:ext cx="1764192" cy="749121"/>
            </a:xfrm>
            <a:prstGeom prst="rect">
              <a:avLst/>
            </a:prstGeom>
            <a:solidFill>
              <a:schemeClr val="accent3">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599" b="1" i="0" u="none" strike="noStrike" kern="1200" cap="none" spc="0" normalizeH="0" baseline="0" noProof="0">
                <a:ln>
                  <a:noFill/>
                </a:ln>
                <a:solidFill>
                  <a:srgbClr val="FFFFFF"/>
                </a:solidFill>
                <a:effectLst/>
                <a:uLnTx/>
                <a:uFillTx/>
                <a:latin typeface="Arial"/>
                <a:ea typeface="+mn-ea"/>
                <a:cs typeface="+mn-cs"/>
              </a:endParaRPr>
            </a:p>
          </p:txBody>
        </p:sp>
        <p:pic>
          <p:nvPicPr>
            <p:cNvPr id="65" name="Grafik 64">
              <a:extLst>
                <a:ext uri="{FF2B5EF4-FFF2-40B4-BE49-F238E27FC236}">
                  <a16:creationId xmlns:a16="http://schemas.microsoft.com/office/drawing/2014/main" id="{72542F26-5858-50EB-4770-934141E153EC}"/>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694348" y="1606991"/>
              <a:ext cx="605647" cy="468000"/>
            </a:xfrm>
            <a:prstGeom prst="rect">
              <a:avLst/>
            </a:prstGeom>
          </p:spPr>
        </p:pic>
      </p:grpSp>
      <p:grpSp>
        <p:nvGrpSpPr>
          <p:cNvPr id="24" name="Gruppieren 23">
            <a:extLst>
              <a:ext uri="{FF2B5EF4-FFF2-40B4-BE49-F238E27FC236}">
                <a16:creationId xmlns:a16="http://schemas.microsoft.com/office/drawing/2014/main" id="{C5FDEF31-4752-DE2A-0048-823F1D8DB651}"/>
              </a:ext>
            </a:extLst>
          </p:cNvPr>
          <p:cNvGrpSpPr/>
          <p:nvPr/>
        </p:nvGrpSpPr>
        <p:grpSpPr>
          <a:xfrm>
            <a:off x="8146098" y="1445048"/>
            <a:ext cx="1763274" cy="4578267"/>
            <a:chOff x="8144229" y="1444014"/>
            <a:chExt cx="1764192" cy="4580652"/>
          </a:xfrm>
        </p:grpSpPr>
        <p:sp>
          <p:nvSpPr>
            <p:cNvPr id="28" name="Rechteck 27">
              <a:extLst>
                <a:ext uri="{FF2B5EF4-FFF2-40B4-BE49-F238E27FC236}">
                  <a16:creationId xmlns:a16="http://schemas.microsoft.com/office/drawing/2014/main" id="{6CD62618-3A08-AD42-88F6-5C9F3265DF3B}"/>
                </a:ext>
              </a:extLst>
            </p:cNvPr>
            <p:cNvSpPr/>
            <p:nvPr/>
          </p:nvSpPr>
          <p:spPr>
            <a:xfrm>
              <a:off x="8144421" y="4031940"/>
              <a:ext cx="1764000" cy="1992726"/>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29" rtl="0" eaLnBrk="1" fontAlgn="auto" latinLnBrk="0" hangingPunct="1">
                <a:lnSpc>
                  <a:spcPct val="100000"/>
                </a:lnSpc>
                <a:spcBef>
                  <a:spcPts val="0"/>
                </a:spcBef>
                <a:spcAft>
                  <a:spcPts val="0"/>
                </a:spcAft>
                <a:buClrTx/>
                <a:buSzTx/>
                <a:buFontTx/>
                <a:buNone/>
                <a:tabLst/>
                <a:defRPr/>
              </a:pPr>
              <a:endParaRPr kumimoji="0" lang="de-DE" sz="1797" b="0" i="0" u="none" strike="noStrike" kern="1200" cap="none" spc="0" normalizeH="0" baseline="0" noProof="0">
                <a:ln>
                  <a:noFill/>
                </a:ln>
                <a:solidFill>
                  <a:prstClr val="white"/>
                </a:solidFill>
                <a:effectLst/>
                <a:uLnTx/>
                <a:uFillTx/>
                <a:latin typeface="Arial"/>
                <a:ea typeface="+mn-ea"/>
                <a:cs typeface="+mn-cs"/>
              </a:endParaRPr>
            </a:p>
          </p:txBody>
        </p:sp>
        <p:sp>
          <p:nvSpPr>
            <p:cNvPr id="25" name="Textfeld 24">
              <a:extLst>
                <a:ext uri="{FF2B5EF4-FFF2-40B4-BE49-F238E27FC236}">
                  <a16:creationId xmlns:a16="http://schemas.microsoft.com/office/drawing/2014/main" id="{4ED1D65E-E2F5-2348-8D3F-B4995F57AC21}"/>
                </a:ext>
              </a:extLst>
            </p:cNvPr>
            <p:cNvSpPr txBox="1"/>
            <p:nvPr/>
          </p:nvSpPr>
          <p:spPr>
            <a:xfrm>
              <a:off x="8338098" y="4571805"/>
              <a:ext cx="1353849" cy="984372"/>
            </a:xfrm>
            <a:prstGeom prst="rect">
              <a:avLst/>
            </a:prstGeom>
            <a:noFill/>
          </p:spPr>
          <p:txBody>
            <a:bodyPr wrap="square" lIns="0" tIns="0" rIns="0" bIns="0" rtlCol="0">
              <a:spAutoFit/>
            </a:bodyPr>
            <a:lstStyle/>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Fiber-optic cables for high-speed Internet</a:t>
              </a:r>
            </a:p>
          </p:txBody>
        </p:sp>
        <p:pic>
          <p:nvPicPr>
            <p:cNvPr id="10" name="Grafik 9">
              <a:extLst>
                <a:ext uri="{FF2B5EF4-FFF2-40B4-BE49-F238E27FC236}">
                  <a16:creationId xmlns:a16="http://schemas.microsoft.com/office/drawing/2014/main" id="{C67DDA46-569C-133B-489F-01DEE953CF79}"/>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8144421" y="2161374"/>
              <a:ext cx="1764000" cy="2276467"/>
            </a:xfrm>
            <a:prstGeom prst="rect">
              <a:avLst/>
            </a:prstGeom>
          </p:spPr>
        </p:pic>
        <p:sp>
          <p:nvSpPr>
            <p:cNvPr id="55" name="Rechteck 54">
              <a:extLst>
                <a:ext uri="{FF2B5EF4-FFF2-40B4-BE49-F238E27FC236}">
                  <a16:creationId xmlns:a16="http://schemas.microsoft.com/office/drawing/2014/main" id="{AB2E6E4D-D64A-4989-A4F6-9F27936D808E}"/>
                </a:ext>
              </a:extLst>
            </p:cNvPr>
            <p:cNvSpPr/>
            <p:nvPr/>
          </p:nvSpPr>
          <p:spPr>
            <a:xfrm>
              <a:off x="8144229" y="1467208"/>
              <a:ext cx="1764192" cy="7491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599" b="1" i="0" u="none" strike="noStrike" kern="1200" cap="none" spc="0" normalizeH="0" baseline="0" noProof="0">
                <a:ln>
                  <a:noFill/>
                </a:ln>
                <a:solidFill>
                  <a:srgbClr val="FFFFFF"/>
                </a:solidFill>
                <a:effectLst/>
                <a:uLnTx/>
                <a:uFillTx/>
                <a:latin typeface="Arial"/>
                <a:ea typeface="+mn-ea"/>
                <a:cs typeface="+mn-cs"/>
              </a:endParaRPr>
            </a:p>
          </p:txBody>
        </p:sp>
        <p:pic>
          <p:nvPicPr>
            <p:cNvPr id="12" name="Grafik 11" descr="Drahtlos Silhouette">
              <a:extLst>
                <a:ext uri="{FF2B5EF4-FFF2-40B4-BE49-F238E27FC236}">
                  <a16:creationId xmlns:a16="http://schemas.microsoft.com/office/drawing/2014/main" id="{3DCB15B7-3400-DA37-AC4D-B98187FE7DB1}"/>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2700000">
              <a:off x="8690958" y="1444014"/>
              <a:ext cx="648000" cy="648000"/>
            </a:xfrm>
            <a:prstGeom prst="rect">
              <a:avLst/>
            </a:prstGeom>
          </p:spPr>
        </p:pic>
      </p:grpSp>
      <p:grpSp>
        <p:nvGrpSpPr>
          <p:cNvPr id="18" name="Gruppieren 17">
            <a:extLst>
              <a:ext uri="{FF2B5EF4-FFF2-40B4-BE49-F238E27FC236}">
                <a16:creationId xmlns:a16="http://schemas.microsoft.com/office/drawing/2014/main" id="{FD1B8ED5-EB29-7653-ECC8-1981F8224F3E}"/>
              </a:ext>
            </a:extLst>
          </p:cNvPr>
          <p:cNvGrpSpPr/>
          <p:nvPr/>
        </p:nvGrpSpPr>
        <p:grpSpPr>
          <a:xfrm>
            <a:off x="2268523" y="1468992"/>
            <a:ext cx="1763082" cy="4556622"/>
            <a:chOff x="2250380" y="1467971"/>
            <a:chExt cx="1764000" cy="4558995"/>
          </a:xfrm>
        </p:grpSpPr>
        <p:sp>
          <p:nvSpPr>
            <p:cNvPr id="23" name="Rechteck 22">
              <a:extLst>
                <a:ext uri="{FF2B5EF4-FFF2-40B4-BE49-F238E27FC236}">
                  <a16:creationId xmlns:a16="http://schemas.microsoft.com/office/drawing/2014/main" id="{6E71860E-6990-6A20-93F2-64C4EB9DE98C}"/>
                </a:ext>
              </a:extLst>
            </p:cNvPr>
            <p:cNvSpPr/>
            <p:nvPr/>
          </p:nvSpPr>
          <p:spPr>
            <a:xfrm>
              <a:off x="2250380" y="4034240"/>
              <a:ext cx="1764000" cy="1992726"/>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029" rtl="0" eaLnBrk="1" fontAlgn="auto" latinLnBrk="0" hangingPunct="1">
                <a:lnSpc>
                  <a:spcPct val="100000"/>
                </a:lnSpc>
                <a:spcBef>
                  <a:spcPts val="0"/>
                </a:spcBef>
                <a:spcAft>
                  <a:spcPts val="0"/>
                </a:spcAft>
                <a:buClrTx/>
                <a:buSzTx/>
                <a:buFontTx/>
                <a:buNone/>
                <a:tabLst/>
                <a:defRPr/>
              </a:pPr>
              <a:endParaRPr kumimoji="0" lang="de-DE" sz="1797" b="0" i="0" u="none" strike="noStrike" kern="1200" cap="none" spc="0" normalizeH="0" baseline="0" noProof="0">
                <a:ln>
                  <a:noFill/>
                </a:ln>
                <a:solidFill>
                  <a:prstClr val="white"/>
                </a:solidFill>
                <a:effectLst/>
                <a:uLnTx/>
                <a:uFillTx/>
                <a:latin typeface="Arial"/>
                <a:ea typeface="+mn-ea"/>
                <a:cs typeface="+mn-cs"/>
              </a:endParaRPr>
            </a:p>
          </p:txBody>
        </p:sp>
        <p:sp>
          <p:nvSpPr>
            <p:cNvPr id="59" name="Textfeld 58">
              <a:extLst>
                <a:ext uri="{FF2B5EF4-FFF2-40B4-BE49-F238E27FC236}">
                  <a16:creationId xmlns:a16="http://schemas.microsoft.com/office/drawing/2014/main" id="{668A643E-3D50-41F8-8B96-C5E2620A06B1}"/>
                </a:ext>
              </a:extLst>
            </p:cNvPr>
            <p:cNvSpPr txBox="1"/>
            <p:nvPr/>
          </p:nvSpPr>
          <p:spPr>
            <a:xfrm>
              <a:off x="2337949" y="4594945"/>
              <a:ext cx="1622603" cy="738664"/>
            </a:xfrm>
            <a:prstGeom prst="rect">
              <a:avLst/>
            </a:prstGeom>
            <a:noFill/>
          </p:spPr>
          <p:txBody>
            <a:bodyPr wrap="square" lIns="0" tIns="0" rIns="0" bIns="0" rtlCol="0">
              <a:spAutoFit/>
            </a:bodyPr>
            <a:lstStyle/>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Climate-compatible</a:t>
              </a:r>
            </a:p>
            <a:p>
              <a:pPr marL="0" marR="0" lvl="0" indent="0" algn="ctr" defTabSz="913029" rtl="0" eaLnBrk="1" fontAlgn="auto" latinLnBrk="0" hangingPunct="1">
                <a:lnSpc>
                  <a:spcPct val="100000"/>
                </a:lnSpc>
                <a:spcBef>
                  <a:spcPts val="0"/>
                </a:spcBef>
                <a:spcAft>
                  <a:spcPts val="0"/>
                </a:spcAft>
                <a:buClrTx/>
                <a:buSzTx/>
                <a:buFontTx/>
                <a:buNone/>
                <a:tabLst/>
                <a:defRPr/>
              </a:pPr>
              <a:r>
                <a:rPr kumimoji="0" lang="en-US" sz="1599" b="0" i="0" u="none" strike="noStrike" kern="1200" cap="none" spc="0" normalizeH="0" baseline="0" noProof="0">
                  <a:ln>
                    <a:noFill/>
                  </a:ln>
                  <a:solidFill>
                    <a:srgbClr val="000000"/>
                  </a:solidFill>
                  <a:effectLst/>
                  <a:uLnTx/>
                  <a:uFillTx/>
                  <a:latin typeface="Arial"/>
                  <a:ea typeface="+mn-ea"/>
                  <a:cs typeface="+mn-cs"/>
                </a:rPr>
                <a:t>heat supply</a:t>
              </a:r>
            </a:p>
          </p:txBody>
        </p:sp>
        <p:pic>
          <p:nvPicPr>
            <p:cNvPr id="6" name="Grafik 5">
              <a:extLst>
                <a:ext uri="{FF2B5EF4-FFF2-40B4-BE49-F238E27FC236}">
                  <a16:creationId xmlns:a16="http://schemas.microsoft.com/office/drawing/2014/main" id="{F6D79A41-EC9C-2CCA-56A1-8F332FC23DAA}"/>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2250380" y="2166526"/>
              <a:ext cx="1764000" cy="2276467"/>
            </a:xfrm>
            <a:prstGeom prst="rect">
              <a:avLst/>
            </a:prstGeom>
          </p:spPr>
        </p:pic>
        <p:sp>
          <p:nvSpPr>
            <p:cNvPr id="47" name="Rechteck 46">
              <a:extLst>
                <a:ext uri="{FF2B5EF4-FFF2-40B4-BE49-F238E27FC236}">
                  <a16:creationId xmlns:a16="http://schemas.microsoft.com/office/drawing/2014/main" id="{D25E58FE-0C7E-47A9-88ED-A66FDFA83D8E}"/>
                </a:ext>
              </a:extLst>
            </p:cNvPr>
            <p:cNvSpPr/>
            <p:nvPr/>
          </p:nvSpPr>
          <p:spPr>
            <a:xfrm>
              <a:off x="2250380" y="1467971"/>
              <a:ext cx="1764000" cy="74912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392" tIns="45696" rIns="91392" bIns="45696" numCol="1" spcCol="0" rtlCol="0" fromWordArt="0" anchor="b" anchorCtr="0" forceAA="0" compatLnSpc="1">
              <a:prstTxWarp prst="textNoShape">
                <a:avLst/>
              </a:prstTxWarp>
              <a:noAutofit/>
            </a:bodyPr>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de-DE" sz="1599" b="1" i="0" u="none" strike="noStrike" kern="1200" cap="none" spc="0" normalizeH="0" baseline="0" noProof="0">
                <a:ln>
                  <a:noFill/>
                </a:ln>
                <a:solidFill>
                  <a:srgbClr val="FFFFFF"/>
                </a:solidFill>
                <a:effectLst/>
                <a:uLnTx/>
                <a:uFillTx/>
                <a:latin typeface="Arial"/>
                <a:ea typeface="+mn-ea"/>
                <a:cs typeface="+mn-cs"/>
              </a:endParaRPr>
            </a:p>
          </p:txBody>
        </p:sp>
        <p:pic>
          <p:nvPicPr>
            <p:cNvPr id="15" name="Grafik 14">
              <a:extLst>
                <a:ext uri="{FF2B5EF4-FFF2-40B4-BE49-F238E27FC236}">
                  <a16:creationId xmlns:a16="http://schemas.microsoft.com/office/drawing/2014/main" id="{13D9925C-3CF0-DD94-E8F5-9A30026706D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2956593" y="1625768"/>
              <a:ext cx="354858" cy="432000"/>
            </a:xfrm>
            <a:prstGeom prst="rect">
              <a:avLst/>
            </a:prstGeom>
          </p:spPr>
        </p:pic>
      </p:grpSp>
    </p:spTree>
    <p:custDataLst>
      <p:tags r:id="rId1"/>
    </p:custDataLst>
    <p:extLst>
      <p:ext uri="{BB962C8B-B14F-4D97-AF65-F5344CB8AC3E}">
        <p14:creationId xmlns:p14="http://schemas.microsoft.com/office/powerpoint/2010/main" val="1601190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EB6FF15-64C9-4429-A79D-4C27D85FF736}"/>
              </a:ext>
            </a:extLst>
          </p:cNvPr>
          <p:cNvGraphicFramePr>
            <a:graphicFrameLocks noChangeAspect="1"/>
          </p:cNvGraphicFramePr>
          <p:nvPr>
            <p:custDataLst>
              <p:tags r:id="rId2"/>
            </p:custDataLst>
          </p:nvPr>
        </p:nvGraphicFramePr>
        <p:xfrm>
          <a:off x="4761" y="3372"/>
          <a:ext cx="1587" cy="1587"/>
        </p:xfrm>
        <a:graphic>
          <a:graphicData uri="http://schemas.openxmlformats.org/presentationml/2006/ole">
            <mc:AlternateContent xmlns:mc="http://schemas.openxmlformats.org/markup-compatibility/2006">
              <mc:Choice xmlns:v="urn:schemas-microsoft-com:vml" Requires="v">
                <p:oleObj name="think-cell Folie" r:id="rId6" imgW="386" imgH="381" progId="TCLayout.ActiveDocument.1">
                  <p:embed/>
                </p:oleObj>
              </mc:Choice>
              <mc:Fallback>
                <p:oleObj name="think-cell Folie" r:id="rId6" imgW="386" imgH="381" progId="TCLayout.ActiveDocument.1">
                  <p:embed/>
                  <p:pic>
                    <p:nvPicPr>
                      <p:cNvPr id="7" name="Objekt 6" hidden="1">
                        <a:extLst>
                          <a:ext uri="{FF2B5EF4-FFF2-40B4-BE49-F238E27FC236}">
                            <a16:creationId xmlns:a16="http://schemas.microsoft.com/office/drawing/2014/main" id="{7EB6FF15-64C9-4429-A79D-4C27D85FF736}"/>
                          </a:ext>
                        </a:extLst>
                      </p:cNvPr>
                      <p:cNvPicPr/>
                      <p:nvPr/>
                    </p:nvPicPr>
                    <p:blipFill>
                      <a:blip r:embed="rId7"/>
                      <a:stretch>
                        <a:fillRect/>
                      </a:stretch>
                    </p:blipFill>
                    <p:spPr>
                      <a:xfrm>
                        <a:off x="4761" y="3372"/>
                        <a:ext cx="1587" cy="1587"/>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BA03DDE6-B238-4271-A4CA-3EE1E368B032}"/>
              </a:ext>
            </a:extLst>
          </p:cNvPr>
          <p:cNvSpPr/>
          <p:nvPr>
            <p:custDataLst>
              <p:tags r:id="rId3"/>
            </p:custDataLst>
          </p:nvPr>
        </p:nvSpPr>
        <p:spPr>
          <a:xfrm>
            <a:off x="3174" y="1785"/>
            <a:ext cx="158667" cy="15866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defRPr/>
            </a:pPr>
            <a:endParaRPr lang="de-DE" sz="2398" b="1">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5" name="Textplatzhalter 4">
            <a:extLst>
              <a:ext uri="{FF2B5EF4-FFF2-40B4-BE49-F238E27FC236}">
                <a16:creationId xmlns:a16="http://schemas.microsoft.com/office/drawing/2014/main" id="{F0B05093-6EBE-D07F-71B5-1A58F763310B}"/>
              </a:ext>
            </a:extLst>
          </p:cNvPr>
          <p:cNvSpPr>
            <a:spLocks noGrp="1"/>
          </p:cNvSpPr>
          <p:nvPr>
            <p:ph type="body" sz="quarter" idx="10"/>
          </p:nvPr>
        </p:nvSpPr>
        <p:spPr/>
        <p:txBody>
          <a:bodyPr/>
          <a:lstStyle/>
          <a:p>
            <a:r>
              <a:rPr lang="de-DE"/>
              <a:t>Strategic </a:t>
            </a:r>
            <a:r>
              <a:rPr lang="de-DE" err="1"/>
              <a:t>overview</a:t>
            </a:r>
            <a:endParaRPr lang="de-DE"/>
          </a:p>
        </p:txBody>
      </p:sp>
      <p:sp>
        <p:nvSpPr>
          <p:cNvPr id="12" name="Titel 11">
            <a:extLst>
              <a:ext uri="{FF2B5EF4-FFF2-40B4-BE49-F238E27FC236}">
                <a16:creationId xmlns:a16="http://schemas.microsoft.com/office/drawing/2014/main" id="{F70E4F32-A3EC-4790-965D-5A29ED03BA78}"/>
              </a:ext>
            </a:extLst>
          </p:cNvPr>
          <p:cNvSpPr>
            <a:spLocks noGrp="1"/>
          </p:cNvSpPr>
          <p:nvPr>
            <p:ph type="title"/>
          </p:nvPr>
        </p:nvSpPr>
        <p:spPr/>
        <p:txBody>
          <a:bodyPr/>
          <a:lstStyle/>
          <a:p>
            <a:r>
              <a:rPr lang="en-GB"/>
              <a:t>Geological Situation</a:t>
            </a:r>
          </a:p>
        </p:txBody>
      </p:sp>
      <p:sp>
        <p:nvSpPr>
          <p:cNvPr id="4" name="Foliennummernplatzhalter 3">
            <a:extLst>
              <a:ext uri="{FF2B5EF4-FFF2-40B4-BE49-F238E27FC236}">
                <a16:creationId xmlns:a16="http://schemas.microsoft.com/office/drawing/2014/main" id="{E257AD6A-2C22-41A5-8783-B644F7A14CC9}"/>
              </a:ext>
            </a:extLst>
          </p:cNvPr>
          <p:cNvSpPr>
            <a:spLocks noGrp="1"/>
          </p:cNvSpPr>
          <p:nvPr>
            <p:ph type="sldNum" sz="quarter" idx="14"/>
          </p:nvPr>
        </p:nvSpPr>
        <p:spPr/>
        <p:txBody>
          <a:bodyPr/>
          <a:lstStyle/>
          <a:p>
            <a:fld id="{40441A6B-36FC-40E4-92B0-8DF9D88ADCB4}" type="slidenum">
              <a:rPr lang="de-DE" smtClean="0"/>
              <a:t>3</a:t>
            </a:fld>
            <a:endParaRPr lang="de-DE"/>
          </a:p>
        </p:txBody>
      </p:sp>
      <p:pic>
        <p:nvPicPr>
          <p:cNvPr id="2" name="Grafik 1">
            <a:extLst>
              <a:ext uri="{FF2B5EF4-FFF2-40B4-BE49-F238E27FC236}">
                <a16:creationId xmlns:a16="http://schemas.microsoft.com/office/drawing/2014/main" id="{9D926FBF-D6D5-4A66-A8CC-8D3F15E93E18}"/>
              </a:ext>
            </a:extLst>
          </p:cNvPr>
          <p:cNvPicPr>
            <a:picLocks noChangeAspect="1"/>
          </p:cNvPicPr>
          <p:nvPr/>
        </p:nvPicPr>
        <p:blipFill>
          <a:blip r:embed="rId8"/>
          <a:stretch>
            <a:fillRect/>
          </a:stretch>
        </p:blipFill>
        <p:spPr>
          <a:xfrm>
            <a:off x="1703271" y="1458808"/>
            <a:ext cx="8785458" cy="4304114"/>
          </a:xfrm>
          <a:prstGeom prst="rect">
            <a:avLst/>
          </a:prstGeom>
        </p:spPr>
      </p:pic>
      <p:sp>
        <p:nvSpPr>
          <p:cNvPr id="8" name="Datumsplatzhalter 2">
            <a:extLst>
              <a:ext uri="{FF2B5EF4-FFF2-40B4-BE49-F238E27FC236}">
                <a16:creationId xmlns:a16="http://schemas.microsoft.com/office/drawing/2014/main" id="{C7E79D48-8959-845A-A78A-A367C1F3BC86}"/>
              </a:ext>
            </a:extLst>
          </p:cNvPr>
          <p:cNvSpPr txBox="1">
            <a:spLocks/>
          </p:cNvSpPr>
          <p:nvPr/>
        </p:nvSpPr>
        <p:spPr>
          <a:xfrm>
            <a:off x="865874" y="6456200"/>
            <a:ext cx="2264239" cy="14203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999">
                <a:solidFill>
                  <a:srgbClr val="738792"/>
                </a:solidFill>
                <a:latin typeface="Arial" pitchFamily="34" charset="0"/>
                <a:cs typeface="Arial" pitchFamily="34" charset="0"/>
              </a:rPr>
              <a:t>21.03.25 / Stadtwerke München</a:t>
            </a:r>
          </a:p>
        </p:txBody>
      </p:sp>
    </p:spTree>
    <p:custDataLst>
      <p:tags r:id="rId1"/>
    </p:custDataLst>
    <p:extLst>
      <p:ext uri="{BB962C8B-B14F-4D97-AF65-F5344CB8AC3E}">
        <p14:creationId xmlns:p14="http://schemas.microsoft.com/office/powerpoint/2010/main" val="21496864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4" name="Gruppieren 433">
            <a:extLst>
              <a:ext uri="{FF2B5EF4-FFF2-40B4-BE49-F238E27FC236}">
                <a16:creationId xmlns:a16="http://schemas.microsoft.com/office/drawing/2014/main" id="{164514EE-8938-8591-460C-0B964CE802C7}"/>
              </a:ext>
            </a:extLst>
          </p:cNvPr>
          <p:cNvGrpSpPr/>
          <p:nvPr/>
        </p:nvGrpSpPr>
        <p:grpSpPr>
          <a:xfrm>
            <a:off x="4345506" y="-4354"/>
            <a:ext cx="6899162" cy="6858000"/>
            <a:chOff x="4345506" y="-4354"/>
            <a:chExt cx="6899162" cy="6858000"/>
          </a:xfrm>
        </p:grpSpPr>
        <p:sp>
          <p:nvSpPr>
            <p:cNvPr id="418" name="Rechteck 417">
              <a:extLst>
                <a:ext uri="{FF2B5EF4-FFF2-40B4-BE49-F238E27FC236}">
                  <a16:creationId xmlns:a16="http://schemas.microsoft.com/office/drawing/2014/main" id="{C33980E3-5EDB-D5BB-D951-2CBA102A415E}"/>
                </a:ext>
              </a:extLst>
            </p:cNvPr>
            <p:cNvSpPr/>
            <p:nvPr/>
          </p:nvSpPr>
          <p:spPr>
            <a:xfrm>
              <a:off x="5062166" y="747265"/>
              <a:ext cx="1695913" cy="40607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8">
                <a:solidFill>
                  <a:schemeClr val="tx1"/>
                </a:solidFill>
              </a:endParaRPr>
            </a:p>
          </p:txBody>
        </p:sp>
        <p:grpSp>
          <p:nvGrpSpPr>
            <p:cNvPr id="419" name="Gruppieren 418">
              <a:extLst>
                <a:ext uri="{FF2B5EF4-FFF2-40B4-BE49-F238E27FC236}">
                  <a16:creationId xmlns:a16="http://schemas.microsoft.com/office/drawing/2014/main" id="{BFD8C11D-915D-15E6-9DE6-8770574AD1AB}"/>
                </a:ext>
              </a:extLst>
            </p:cNvPr>
            <p:cNvGrpSpPr/>
            <p:nvPr/>
          </p:nvGrpSpPr>
          <p:grpSpPr>
            <a:xfrm>
              <a:off x="4345506" y="-4354"/>
              <a:ext cx="6181407" cy="6858000"/>
              <a:chOff x="4259484" y="0"/>
              <a:chExt cx="6184627" cy="6861572"/>
            </a:xfrm>
          </p:grpSpPr>
          <p:pic>
            <p:nvPicPr>
              <p:cNvPr id="421" name="Grafik 420" descr="Ein Bild, das Text, Karte, Diagramm, Atlas enthält.&#10;&#10;Automatisch generierte Beschreibung">
                <a:extLst>
                  <a:ext uri="{FF2B5EF4-FFF2-40B4-BE49-F238E27FC236}">
                    <a16:creationId xmlns:a16="http://schemas.microsoft.com/office/drawing/2014/main" id="{59E3FD1B-4471-28AB-52F4-A7F90E56109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379768" y="0"/>
                <a:ext cx="6064343" cy="6861572"/>
              </a:xfrm>
              <a:prstGeom prst="rect">
                <a:avLst/>
              </a:prstGeom>
            </p:spPr>
          </p:pic>
          <p:sp>
            <p:nvSpPr>
              <p:cNvPr id="425" name="Rechteck 424">
                <a:extLst>
                  <a:ext uri="{FF2B5EF4-FFF2-40B4-BE49-F238E27FC236}">
                    <a16:creationId xmlns:a16="http://schemas.microsoft.com/office/drawing/2014/main" id="{E2C996DF-0968-7B01-03D5-3473230AA11A}"/>
                  </a:ext>
                </a:extLst>
              </p:cNvPr>
              <p:cNvSpPr/>
              <p:nvPr/>
            </p:nvSpPr>
            <p:spPr>
              <a:xfrm>
                <a:off x="4259484" y="4369443"/>
                <a:ext cx="1562582" cy="15394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grpSp>
        <p:sp>
          <p:nvSpPr>
            <p:cNvPr id="426" name="Textfeld 425">
              <a:extLst>
                <a:ext uri="{FF2B5EF4-FFF2-40B4-BE49-F238E27FC236}">
                  <a16:creationId xmlns:a16="http://schemas.microsoft.com/office/drawing/2014/main" id="{981CC62C-4DD0-EDAA-E707-02AB6E37018A}"/>
                </a:ext>
              </a:extLst>
            </p:cNvPr>
            <p:cNvSpPr txBox="1"/>
            <p:nvPr/>
          </p:nvSpPr>
          <p:spPr>
            <a:xfrm>
              <a:off x="9926256" y="563099"/>
              <a:ext cx="639689" cy="276999"/>
            </a:xfrm>
            <a:prstGeom prst="rect">
              <a:avLst/>
            </a:prstGeom>
            <a:noFill/>
          </p:spPr>
          <p:txBody>
            <a:bodyPr wrap="square" lIns="0" tIns="0" rIns="0" bIns="0" rtlCol="0">
              <a:spAutoFit/>
            </a:bodyPr>
            <a:lstStyle/>
            <a:p>
              <a:r>
                <a:rPr lang="de-DE" dirty="0">
                  <a:solidFill>
                    <a:srgbClr val="1B4F8E"/>
                  </a:solidFill>
                </a:rPr>
                <a:t>80 °C</a:t>
              </a:r>
            </a:p>
          </p:txBody>
        </p:sp>
        <p:sp>
          <p:nvSpPr>
            <p:cNvPr id="427" name="Textfeld 426">
              <a:extLst>
                <a:ext uri="{FF2B5EF4-FFF2-40B4-BE49-F238E27FC236}">
                  <a16:creationId xmlns:a16="http://schemas.microsoft.com/office/drawing/2014/main" id="{8117965E-F8CC-7FEA-4A8D-08BC76AD8BE9}"/>
                </a:ext>
              </a:extLst>
            </p:cNvPr>
            <p:cNvSpPr txBox="1"/>
            <p:nvPr/>
          </p:nvSpPr>
          <p:spPr>
            <a:xfrm>
              <a:off x="10354692" y="2823381"/>
              <a:ext cx="717755" cy="276999"/>
            </a:xfrm>
            <a:prstGeom prst="rect">
              <a:avLst/>
            </a:prstGeom>
            <a:noFill/>
          </p:spPr>
          <p:txBody>
            <a:bodyPr wrap="square" lIns="0" tIns="0" rIns="0" bIns="0" rtlCol="0">
              <a:spAutoFit/>
            </a:bodyPr>
            <a:lstStyle/>
            <a:p>
              <a:r>
                <a:rPr lang="de-DE">
                  <a:solidFill>
                    <a:srgbClr val="7030A0"/>
                  </a:solidFill>
                </a:rPr>
                <a:t>100 °C</a:t>
              </a:r>
            </a:p>
          </p:txBody>
        </p:sp>
        <p:sp>
          <p:nvSpPr>
            <p:cNvPr id="428" name="Textfeld 427">
              <a:extLst>
                <a:ext uri="{FF2B5EF4-FFF2-40B4-BE49-F238E27FC236}">
                  <a16:creationId xmlns:a16="http://schemas.microsoft.com/office/drawing/2014/main" id="{93880C70-8333-CB1E-B5F4-A8D81A638E76}"/>
                </a:ext>
              </a:extLst>
            </p:cNvPr>
            <p:cNvSpPr txBox="1"/>
            <p:nvPr/>
          </p:nvSpPr>
          <p:spPr>
            <a:xfrm>
              <a:off x="10226615" y="3512569"/>
              <a:ext cx="717755" cy="276999"/>
            </a:xfrm>
            <a:prstGeom prst="rect">
              <a:avLst/>
            </a:prstGeom>
            <a:noFill/>
          </p:spPr>
          <p:txBody>
            <a:bodyPr wrap="square" lIns="0" tIns="0" rIns="0" bIns="0" rtlCol="0">
              <a:spAutoFit/>
            </a:bodyPr>
            <a:lstStyle/>
            <a:p>
              <a:r>
                <a:rPr lang="de-DE" dirty="0">
                  <a:solidFill>
                    <a:srgbClr val="FABB00"/>
                  </a:solidFill>
                </a:rPr>
                <a:t>120 °C</a:t>
              </a:r>
            </a:p>
          </p:txBody>
        </p:sp>
        <p:sp>
          <p:nvSpPr>
            <p:cNvPr id="429" name="Textfeld 428">
              <a:extLst>
                <a:ext uri="{FF2B5EF4-FFF2-40B4-BE49-F238E27FC236}">
                  <a16:creationId xmlns:a16="http://schemas.microsoft.com/office/drawing/2014/main" id="{D2E4DC2D-D571-6E80-0E55-0529024CB2F9}"/>
                </a:ext>
              </a:extLst>
            </p:cNvPr>
            <p:cNvSpPr txBox="1"/>
            <p:nvPr/>
          </p:nvSpPr>
          <p:spPr>
            <a:xfrm>
              <a:off x="10526913" y="5728271"/>
              <a:ext cx="717755" cy="276999"/>
            </a:xfrm>
            <a:prstGeom prst="rect">
              <a:avLst/>
            </a:prstGeom>
            <a:noFill/>
          </p:spPr>
          <p:txBody>
            <a:bodyPr wrap="square" lIns="0" tIns="0" rIns="0" bIns="0" rtlCol="0">
              <a:spAutoFit/>
            </a:bodyPr>
            <a:lstStyle/>
            <a:p>
              <a:r>
                <a:rPr lang="de-DE">
                  <a:solidFill>
                    <a:srgbClr val="FF0000"/>
                  </a:solidFill>
                </a:rPr>
                <a:t>140 °C</a:t>
              </a:r>
            </a:p>
          </p:txBody>
        </p:sp>
        <mc:AlternateContent xmlns:mc="http://schemas.openxmlformats.org/markup-compatibility/2006">
          <mc:Choice xmlns:p14="http://schemas.microsoft.com/office/powerpoint/2010/main" Requires="p14">
            <p:contentPart p14:bwMode="auto" r:id="rId4">
              <p14:nvContentPartPr>
                <p14:cNvPr id="430" name="Freihand 429">
                  <a:extLst>
                    <a:ext uri="{FF2B5EF4-FFF2-40B4-BE49-F238E27FC236}">
                      <a16:creationId xmlns:a16="http://schemas.microsoft.com/office/drawing/2014/main" id="{8207F4F8-A96B-70AA-D223-2990736B37D6}"/>
                    </a:ext>
                  </a:extLst>
                </p14:cNvPr>
                <p14:cNvContentPartPr/>
                <p14:nvPr/>
              </p14:nvContentPartPr>
              <p14:xfrm>
                <a:off x="4492171" y="563099"/>
                <a:ext cx="5131059" cy="849661"/>
              </p14:xfrm>
            </p:contentPart>
          </mc:Choice>
          <mc:Fallback>
            <p:pic>
              <p:nvPicPr>
                <p:cNvPr id="430" name="Freihand 429">
                  <a:extLst>
                    <a:ext uri="{FF2B5EF4-FFF2-40B4-BE49-F238E27FC236}">
                      <a16:creationId xmlns:a16="http://schemas.microsoft.com/office/drawing/2014/main" id="{8207F4F8-A96B-70AA-D223-2990736B37D6}"/>
                    </a:ext>
                  </a:extLst>
                </p:cNvPr>
                <p:cNvPicPr/>
                <p:nvPr/>
              </p:nvPicPr>
              <p:blipFill>
                <a:blip r:embed="rId5"/>
                <a:stretch>
                  <a:fillRect/>
                </a:stretch>
              </p:blipFill>
              <p:spPr>
                <a:xfrm>
                  <a:off x="4474172" y="545105"/>
                  <a:ext cx="5166696" cy="885288"/>
                </a:xfrm>
                <a:prstGeom prst="rect">
                  <a:avLst/>
                </a:prstGeom>
              </p:spPr>
            </p:pic>
          </mc:Fallback>
        </mc:AlternateContent>
        <p:sp>
          <p:nvSpPr>
            <p:cNvPr id="431" name="Freihandform: Form 430">
              <a:extLst>
                <a:ext uri="{FF2B5EF4-FFF2-40B4-BE49-F238E27FC236}">
                  <a16:creationId xmlns:a16="http://schemas.microsoft.com/office/drawing/2014/main" id="{4A7F9A34-934D-50AC-08AB-5F78053DCF0C}"/>
                </a:ext>
              </a:extLst>
            </p:cNvPr>
            <p:cNvSpPr/>
            <p:nvPr/>
          </p:nvSpPr>
          <p:spPr>
            <a:xfrm>
              <a:off x="5413513" y="2559280"/>
              <a:ext cx="4711148" cy="970639"/>
            </a:xfrm>
            <a:custGeom>
              <a:avLst/>
              <a:gdLst>
                <a:gd name="connsiteX0" fmla="*/ 0 w 4711148"/>
                <a:gd name="connsiteY0" fmla="*/ 948604 h 970639"/>
                <a:gd name="connsiteX1" fmla="*/ 437322 w 4711148"/>
                <a:gd name="connsiteY1" fmla="*/ 948604 h 970639"/>
                <a:gd name="connsiteX2" fmla="*/ 543339 w 4711148"/>
                <a:gd name="connsiteY2" fmla="*/ 955230 h 970639"/>
                <a:gd name="connsiteX3" fmla="*/ 801757 w 4711148"/>
                <a:gd name="connsiteY3" fmla="*/ 948604 h 970639"/>
                <a:gd name="connsiteX4" fmla="*/ 828261 w 4711148"/>
                <a:gd name="connsiteY4" fmla="*/ 928726 h 970639"/>
                <a:gd name="connsiteX5" fmla="*/ 868017 w 4711148"/>
                <a:gd name="connsiteY5" fmla="*/ 915474 h 970639"/>
                <a:gd name="connsiteX6" fmla="*/ 934278 w 4711148"/>
                <a:gd name="connsiteY6" fmla="*/ 888970 h 970639"/>
                <a:gd name="connsiteX7" fmla="*/ 967409 w 4711148"/>
                <a:gd name="connsiteY7" fmla="*/ 869091 h 970639"/>
                <a:gd name="connsiteX8" fmla="*/ 1007165 w 4711148"/>
                <a:gd name="connsiteY8" fmla="*/ 855839 h 970639"/>
                <a:gd name="connsiteX9" fmla="*/ 1040296 w 4711148"/>
                <a:gd name="connsiteY9" fmla="*/ 842587 h 970639"/>
                <a:gd name="connsiteX10" fmla="*/ 1119809 w 4711148"/>
                <a:gd name="connsiteY10" fmla="*/ 809457 h 970639"/>
                <a:gd name="connsiteX11" fmla="*/ 1186070 w 4711148"/>
                <a:gd name="connsiteY11" fmla="*/ 776326 h 970639"/>
                <a:gd name="connsiteX12" fmla="*/ 1205948 w 4711148"/>
                <a:gd name="connsiteY12" fmla="*/ 769700 h 970639"/>
                <a:gd name="connsiteX13" fmla="*/ 1225826 w 4711148"/>
                <a:gd name="connsiteY13" fmla="*/ 756448 h 970639"/>
                <a:gd name="connsiteX14" fmla="*/ 1252330 w 4711148"/>
                <a:gd name="connsiteY14" fmla="*/ 749822 h 970639"/>
                <a:gd name="connsiteX15" fmla="*/ 1272209 w 4711148"/>
                <a:gd name="connsiteY15" fmla="*/ 743196 h 970639"/>
                <a:gd name="connsiteX16" fmla="*/ 1318591 w 4711148"/>
                <a:gd name="connsiteY16" fmla="*/ 723317 h 970639"/>
                <a:gd name="connsiteX17" fmla="*/ 1345096 w 4711148"/>
                <a:gd name="connsiteY17" fmla="*/ 703439 h 970639"/>
                <a:gd name="connsiteX18" fmla="*/ 1404730 w 4711148"/>
                <a:gd name="connsiteY18" fmla="*/ 676935 h 970639"/>
                <a:gd name="connsiteX19" fmla="*/ 1431235 w 4711148"/>
                <a:gd name="connsiteY19" fmla="*/ 663683 h 970639"/>
                <a:gd name="connsiteX20" fmla="*/ 1477617 w 4711148"/>
                <a:gd name="connsiteY20" fmla="*/ 637178 h 970639"/>
                <a:gd name="connsiteX21" fmla="*/ 1510748 w 4711148"/>
                <a:gd name="connsiteY21" fmla="*/ 617300 h 970639"/>
                <a:gd name="connsiteX22" fmla="*/ 1537252 w 4711148"/>
                <a:gd name="connsiteY22" fmla="*/ 590796 h 970639"/>
                <a:gd name="connsiteX23" fmla="*/ 1550504 w 4711148"/>
                <a:gd name="connsiteY23" fmla="*/ 570917 h 970639"/>
                <a:gd name="connsiteX24" fmla="*/ 1596887 w 4711148"/>
                <a:gd name="connsiteY24" fmla="*/ 551039 h 970639"/>
                <a:gd name="connsiteX25" fmla="*/ 1623391 w 4711148"/>
                <a:gd name="connsiteY25" fmla="*/ 544413 h 970639"/>
                <a:gd name="connsiteX26" fmla="*/ 1709530 w 4711148"/>
                <a:gd name="connsiteY26" fmla="*/ 498030 h 970639"/>
                <a:gd name="connsiteX27" fmla="*/ 1802296 w 4711148"/>
                <a:gd name="connsiteY27" fmla="*/ 478152 h 970639"/>
                <a:gd name="connsiteX28" fmla="*/ 1895061 w 4711148"/>
                <a:gd name="connsiteY28" fmla="*/ 438396 h 970639"/>
                <a:gd name="connsiteX29" fmla="*/ 1954696 w 4711148"/>
                <a:gd name="connsiteY29" fmla="*/ 411891 h 970639"/>
                <a:gd name="connsiteX30" fmla="*/ 2001078 w 4711148"/>
                <a:gd name="connsiteY30" fmla="*/ 378761 h 970639"/>
                <a:gd name="connsiteX31" fmla="*/ 2034209 w 4711148"/>
                <a:gd name="connsiteY31" fmla="*/ 365509 h 970639"/>
                <a:gd name="connsiteX32" fmla="*/ 2054087 w 4711148"/>
                <a:gd name="connsiteY32" fmla="*/ 345630 h 970639"/>
                <a:gd name="connsiteX33" fmla="*/ 2146852 w 4711148"/>
                <a:gd name="connsiteY33" fmla="*/ 292622 h 970639"/>
                <a:gd name="connsiteX34" fmla="*/ 2226365 w 4711148"/>
                <a:gd name="connsiteY34" fmla="*/ 259491 h 970639"/>
                <a:gd name="connsiteX35" fmla="*/ 2305878 w 4711148"/>
                <a:gd name="connsiteY35" fmla="*/ 219735 h 970639"/>
                <a:gd name="connsiteX36" fmla="*/ 2339009 w 4711148"/>
                <a:gd name="connsiteY36" fmla="*/ 199857 h 970639"/>
                <a:gd name="connsiteX37" fmla="*/ 2372139 w 4711148"/>
                <a:gd name="connsiteY37" fmla="*/ 193230 h 970639"/>
                <a:gd name="connsiteX38" fmla="*/ 2425148 w 4711148"/>
                <a:gd name="connsiteY38" fmla="*/ 166726 h 970639"/>
                <a:gd name="connsiteX39" fmla="*/ 2451652 w 4711148"/>
                <a:gd name="connsiteY39" fmla="*/ 160100 h 970639"/>
                <a:gd name="connsiteX40" fmla="*/ 2484783 w 4711148"/>
                <a:gd name="connsiteY40" fmla="*/ 153474 h 970639"/>
                <a:gd name="connsiteX41" fmla="*/ 2551044 w 4711148"/>
                <a:gd name="connsiteY41" fmla="*/ 133596 h 970639"/>
                <a:gd name="connsiteX42" fmla="*/ 2604052 w 4711148"/>
                <a:gd name="connsiteY42" fmla="*/ 107091 h 970639"/>
                <a:gd name="connsiteX43" fmla="*/ 2623930 w 4711148"/>
                <a:gd name="connsiteY43" fmla="*/ 93839 h 970639"/>
                <a:gd name="connsiteX44" fmla="*/ 2756452 w 4711148"/>
                <a:gd name="connsiteY44" fmla="*/ 60709 h 970639"/>
                <a:gd name="connsiteX45" fmla="*/ 2829339 w 4711148"/>
                <a:gd name="connsiteY45" fmla="*/ 40830 h 970639"/>
                <a:gd name="connsiteX46" fmla="*/ 2895600 w 4711148"/>
                <a:gd name="connsiteY46" fmla="*/ 34204 h 970639"/>
                <a:gd name="connsiteX47" fmla="*/ 3101009 w 4711148"/>
                <a:gd name="connsiteY47" fmla="*/ 20952 h 970639"/>
                <a:gd name="connsiteX48" fmla="*/ 3823252 w 4711148"/>
                <a:gd name="connsiteY48" fmla="*/ 20952 h 970639"/>
                <a:gd name="connsiteX49" fmla="*/ 3929270 w 4711148"/>
                <a:gd name="connsiteY49" fmla="*/ 34204 h 970639"/>
                <a:gd name="connsiteX50" fmla="*/ 4088296 w 4711148"/>
                <a:gd name="connsiteY50" fmla="*/ 80587 h 970639"/>
                <a:gd name="connsiteX51" fmla="*/ 4108174 w 4711148"/>
                <a:gd name="connsiteY51" fmla="*/ 93839 h 970639"/>
                <a:gd name="connsiteX52" fmla="*/ 4313583 w 4711148"/>
                <a:gd name="connsiteY52" fmla="*/ 160100 h 970639"/>
                <a:gd name="connsiteX53" fmla="*/ 4366591 w 4711148"/>
                <a:gd name="connsiteY53" fmla="*/ 179978 h 970639"/>
                <a:gd name="connsiteX54" fmla="*/ 4386470 w 4711148"/>
                <a:gd name="connsiteY54" fmla="*/ 193230 h 970639"/>
                <a:gd name="connsiteX55" fmla="*/ 4492487 w 4711148"/>
                <a:gd name="connsiteY55" fmla="*/ 279370 h 970639"/>
                <a:gd name="connsiteX56" fmla="*/ 4518991 w 4711148"/>
                <a:gd name="connsiteY56" fmla="*/ 305874 h 970639"/>
                <a:gd name="connsiteX57" fmla="*/ 4618383 w 4711148"/>
                <a:gd name="connsiteY57" fmla="*/ 431770 h 970639"/>
                <a:gd name="connsiteX58" fmla="*/ 4644887 w 4711148"/>
                <a:gd name="connsiteY58" fmla="*/ 438396 h 970639"/>
                <a:gd name="connsiteX59" fmla="*/ 4664765 w 4711148"/>
                <a:gd name="connsiteY59" fmla="*/ 458274 h 970639"/>
                <a:gd name="connsiteX60" fmla="*/ 4711148 w 4711148"/>
                <a:gd name="connsiteY60" fmla="*/ 478152 h 970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711148" h="970639">
                  <a:moveTo>
                    <a:pt x="0" y="948604"/>
                  </a:moveTo>
                  <a:cubicBezTo>
                    <a:pt x="163790" y="915846"/>
                    <a:pt x="39483" y="938271"/>
                    <a:pt x="437322" y="948604"/>
                  </a:cubicBezTo>
                  <a:cubicBezTo>
                    <a:pt x="472718" y="949523"/>
                    <a:pt x="508000" y="953021"/>
                    <a:pt x="543339" y="955230"/>
                  </a:cubicBezTo>
                  <a:cubicBezTo>
                    <a:pt x="639637" y="979307"/>
                    <a:pt x="606031" y="973698"/>
                    <a:pt x="801757" y="948604"/>
                  </a:cubicBezTo>
                  <a:cubicBezTo>
                    <a:pt x="812711" y="947200"/>
                    <a:pt x="818384" y="933665"/>
                    <a:pt x="828261" y="928726"/>
                  </a:cubicBezTo>
                  <a:cubicBezTo>
                    <a:pt x="840755" y="922479"/>
                    <a:pt x="855252" y="921147"/>
                    <a:pt x="868017" y="915474"/>
                  </a:cubicBezTo>
                  <a:cubicBezTo>
                    <a:pt x="947833" y="880001"/>
                    <a:pt x="786235" y="931268"/>
                    <a:pt x="934278" y="888970"/>
                  </a:cubicBezTo>
                  <a:cubicBezTo>
                    <a:pt x="945322" y="882344"/>
                    <a:pt x="955684" y="874420"/>
                    <a:pt x="967409" y="869091"/>
                  </a:cubicBezTo>
                  <a:cubicBezTo>
                    <a:pt x="980126" y="863311"/>
                    <a:pt x="994037" y="860613"/>
                    <a:pt x="1007165" y="855839"/>
                  </a:cubicBezTo>
                  <a:cubicBezTo>
                    <a:pt x="1018343" y="851774"/>
                    <a:pt x="1029496" y="847571"/>
                    <a:pt x="1040296" y="842587"/>
                  </a:cubicBezTo>
                  <a:cubicBezTo>
                    <a:pt x="1112570" y="809230"/>
                    <a:pt x="1069013" y="822156"/>
                    <a:pt x="1119809" y="809457"/>
                  </a:cubicBezTo>
                  <a:cubicBezTo>
                    <a:pt x="1141896" y="798413"/>
                    <a:pt x="1162643" y="784135"/>
                    <a:pt x="1186070" y="776326"/>
                  </a:cubicBezTo>
                  <a:cubicBezTo>
                    <a:pt x="1192696" y="774117"/>
                    <a:pt x="1199701" y="772824"/>
                    <a:pt x="1205948" y="769700"/>
                  </a:cubicBezTo>
                  <a:cubicBezTo>
                    <a:pt x="1213071" y="766139"/>
                    <a:pt x="1218506" y="759585"/>
                    <a:pt x="1225826" y="756448"/>
                  </a:cubicBezTo>
                  <a:cubicBezTo>
                    <a:pt x="1234196" y="752861"/>
                    <a:pt x="1243574" y="752324"/>
                    <a:pt x="1252330" y="749822"/>
                  </a:cubicBezTo>
                  <a:cubicBezTo>
                    <a:pt x="1259046" y="747903"/>
                    <a:pt x="1265789" y="745947"/>
                    <a:pt x="1272209" y="743196"/>
                  </a:cubicBezTo>
                  <a:cubicBezTo>
                    <a:pt x="1329529" y="718630"/>
                    <a:pt x="1271970" y="738857"/>
                    <a:pt x="1318591" y="723317"/>
                  </a:cubicBezTo>
                  <a:cubicBezTo>
                    <a:pt x="1327426" y="716691"/>
                    <a:pt x="1335372" y="708675"/>
                    <a:pt x="1345096" y="703439"/>
                  </a:cubicBezTo>
                  <a:cubicBezTo>
                    <a:pt x="1364249" y="693126"/>
                    <a:pt x="1384979" y="686051"/>
                    <a:pt x="1404730" y="676935"/>
                  </a:cubicBezTo>
                  <a:cubicBezTo>
                    <a:pt x="1413699" y="672796"/>
                    <a:pt x="1422563" y="668413"/>
                    <a:pt x="1431235" y="663683"/>
                  </a:cubicBezTo>
                  <a:cubicBezTo>
                    <a:pt x="1446868" y="655156"/>
                    <a:pt x="1462801" y="647056"/>
                    <a:pt x="1477617" y="637178"/>
                  </a:cubicBezTo>
                  <a:cubicBezTo>
                    <a:pt x="1513996" y="612925"/>
                    <a:pt x="1464610" y="632679"/>
                    <a:pt x="1510748" y="617300"/>
                  </a:cubicBezTo>
                  <a:cubicBezTo>
                    <a:pt x="1519583" y="608465"/>
                    <a:pt x="1529121" y="600282"/>
                    <a:pt x="1537252" y="590796"/>
                  </a:cubicBezTo>
                  <a:cubicBezTo>
                    <a:pt x="1542435" y="584749"/>
                    <a:pt x="1544386" y="576015"/>
                    <a:pt x="1550504" y="570917"/>
                  </a:cubicBezTo>
                  <a:cubicBezTo>
                    <a:pt x="1559722" y="563235"/>
                    <a:pt x="1584279" y="554641"/>
                    <a:pt x="1596887" y="551039"/>
                  </a:cubicBezTo>
                  <a:cubicBezTo>
                    <a:pt x="1605643" y="548537"/>
                    <a:pt x="1614864" y="547610"/>
                    <a:pt x="1623391" y="544413"/>
                  </a:cubicBezTo>
                  <a:cubicBezTo>
                    <a:pt x="1660588" y="530464"/>
                    <a:pt x="1663470" y="514151"/>
                    <a:pt x="1709530" y="498030"/>
                  </a:cubicBezTo>
                  <a:cubicBezTo>
                    <a:pt x="1812041" y="462151"/>
                    <a:pt x="1752555" y="498633"/>
                    <a:pt x="1802296" y="478152"/>
                  </a:cubicBezTo>
                  <a:cubicBezTo>
                    <a:pt x="1833404" y="465343"/>
                    <a:pt x="1864971" y="453442"/>
                    <a:pt x="1895061" y="438396"/>
                  </a:cubicBezTo>
                  <a:cubicBezTo>
                    <a:pt x="1941064" y="415393"/>
                    <a:pt x="1920761" y="423202"/>
                    <a:pt x="1954696" y="411891"/>
                  </a:cubicBezTo>
                  <a:cubicBezTo>
                    <a:pt x="1960698" y="407389"/>
                    <a:pt x="1991389" y="383605"/>
                    <a:pt x="2001078" y="378761"/>
                  </a:cubicBezTo>
                  <a:cubicBezTo>
                    <a:pt x="2011717" y="373442"/>
                    <a:pt x="2023165" y="369926"/>
                    <a:pt x="2034209" y="365509"/>
                  </a:cubicBezTo>
                  <a:cubicBezTo>
                    <a:pt x="2040835" y="358883"/>
                    <a:pt x="2046382" y="350964"/>
                    <a:pt x="2054087" y="345630"/>
                  </a:cubicBezTo>
                  <a:cubicBezTo>
                    <a:pt x="2070056" y="334575"/>
                    <a:pt x="2119844" y="304438"/>
                    <a:pt x="2146852" y="292622"/>
                  </a:cubicBezTo>
                  <a:cubicBezTo>
                    <a:pt x="2173158" y="281113"/>
                    <a:pt x="2200683" y="272332"/>
                    <a:pt x="2226365" y="259491"/>
                  </a:cubicBezTo>
                  <a:cubicBezTo>
                    <a:pt x="2252869" y="246239"/>
                    <a:pt x="2280468" y="234981"/>
                    <a:pt x="2305878" y="219735"/>
                  </a:cubicBezTo>
                  <a:cubicBezTo>
                    <a:pt x="2316922" y="213109"/>
                    <a:pt x="2327051" y="204640"/>
                    <a:pt x="2339009" y="199857"/>
                  </a:cubicBezTo>
                  <a:cubicBezTo>
                    <a:pt x="2349466" y="195674"/>
                    <a:pt x="2361096" y="195439"/>
                    <a:pt x="2372139" y="193230"/>
                  </a:cubicBezTo>
                  <a:cubicBezTo>
                    <a:pt x="2389809" y="184395"/>
                    <a:pt x="2405983" y="171517"/>
                    <a:pt x="2425148" y="166726"/>
                  </a:cubicBezTo>
                  <a:cubicBezTo>
                    <a:pt x="2433983" y="164517"/>
                    <a:pt x="2442762" y="162075"/>
                    <a:pt x="2451652" y="160100"/>
                  </a:cubicBezTo>
                  <a:cubicBezTo>
                    <a:pt x="2462646" y="157657"/>
                    <a:pt x="2473789" y="155917"/>
                    <a:pt x="2484783" y="153474"/>
                  </a:cubicBezTo>
                  <a:cubicBezTo>
                    <a:pt x="2504883" y="149007"/>
                    <a:pt x="2533259" y="141218"/>
                    <a:pt x="2551044" y="133596"/>
                  </a:cubicBezTo>
                  <a:cubicBezTo>
                    <a:pt x="2569202" y="125814"/>
                    <a:pt x="2586709" y="116551"/>
                    <a:pt x="2604052" y="107091"/>
                  </a:cubicBezTo>
                  <a:cubicBezTo>
                    <a:pt x="2611043" y="103278"/>
                    <a:pt x="2616474" y="96635"/>
                    <a:pt x="2623930" y="93839"/>
                  </a:cubicBezTo>
                  <a:cubicBezTo>
                    <a:pt x="2756546" y="44109"/>
                    <a:pt x="2663929" y="81270"/>
                    <a:pt x="2756452" y="60709"/>
                  </a:cubicBezTo>
                  <a:cubicBezTo>
                    <a:pt x="2781035" y="55246"/>
                    <a:pt x="2804601" y="45542"/>
                    <a:pt x="2829339" y="40830"/>
                  </a:cubicBezTo>
                  <a:cubicBezTo>
                    <a:pt x="2851144" y="36677"/>
                    <a:pt x="2873462" y="35824"/>
                    <a:pt x="2895600" y="34204"/>
                  </a:cubicBezTo>
                  <a:lnTo>
                    <a:pt x="3101009" y="20952"/>
                  </a:lnTo>
                  <a:cubicBezTo>
                    <a:pt x="3365975" y="-16900"/>
                    <a:pt x="3195956" y="5004"/>
                    <a:pt x="3823252" y="20952"/>
                  </a:cubicBezTo>
                  <a:cubicBezTo>
                    <a:pt x="3858855" y="21857"/>
                    <a:pt x="3929270" y="34204"/>
                    <a:pt x="3929270" y="34204"/>
                  </a:cubicBezTo>
                  <a:cubicBezTo>
                    <a:pt x="4070514" y="76578"/>
                    <a:pt x="4017049" y="62776"/>
                    <a:pt x="4088296" y="80587"/>
                  </a:cubicBezTo>
                  <a:cubicBezTo>
                    <a:pt x="4094922" y="85004"/>
                    <a:pt x="4100741" y="90980"/>
                    <a:pt x="4108174" y="93839"/>
                  </a:cubicBezTo>
                  <a:cubicBezTo>
                    <a:pt x="4231428" y="141245"/>
                    <a:pt x="4224090" y="137727"/>
                    <a:pt x="4313583" y="160100"/>
                  </a:cubicBezTo>
                  <a:cubicBezTo>
                    <a:pt x="4360199" y="191178"/>
                    <a:pt x="4301090" y="155416"/>
                    <a:pt x="4366591" y="179978"/>
                  </a:cubicBezTo>
                  <a:cubicBezTo>
                    <a:pt x="4374048" y="182774"/>
                    <a:pt x="4379641" y="189133"/>
                    <a:pt x="4386470" y="193230"/>
                  </a:cubicBezTo>
                  <a:cubicBezTo>
                    <a:pt x="4462314" y="238737"/>
                    <a:pt x="4412282" y="199165"/>
                    <a:pt x="4492487" y="279370"/>
                  </a:cubicBezTo>
                  <a:cubicBezTo>
                    <a:pt x="4501322" y="288205"/>
                    <a:pt x="4512235" y="295364"/>
                    <a:pt x="4518991" y="305874"/>
                  </a:cubicBezTo>
                  <a:cubicBezTo>
                    <a:pt x="4552573" y="358112"/>
                    <a:pt x="4566990" y="400934"/>
                    <a:pt x="4618383" y="431770"/>
                  </a:cubicBezTo>
                  <a:cubicBezTo>
                    <a:pt x="4626192" y="436455"/>
                    <a:pt x="4636052" y="436187"/>
                    <a:pt x="4644887" y="438396"/>
                  </a:cubicBezTo>
                  <a:cubicBezTo>
                    <a:pt x="4651513" y="445022"/>
                    <a:pt x="4656730" y="453453"/>
                    <a:pt x="4664765" y="458274"/>
                  </a:cubicBezTo>
                  <a:cubicBezTo>
                    <a:pt x="4679189" y="466928"/>
                    <a:pt x="4711148" y="478152"/>
                    <a:pt x="4711148" y="478152"/>
                  </a:cubicBezTo>
                </a:path>
              </a:pathLst>
            </a:custGeom>
            <a:ln>
              <a:solidFill>
                <a:srgbClr val="7030A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a:p>
          </p:txBody>
        </p:sp>
        <p:sp>
          <p:nvSpPr>
            <p:cNvPr id="432" name="Freihandform: Form 431">
              <a:extLst>
                <a:ext uri="{FF2B5EF4-FFF2-40B4-BE49-F238E27FC236}">
                  <a16:creationId xmlns:a16="http://schemas.microsoft.com/office/drawing/2014/main" id="{561C2ACA-5CC8-0618-3ADA-9138D98C53A4}"/>
                </a:ext>
              </a:extLst>
            </p:cNvPr>
            <p:cNvSpPr/>
            <p:nvPr/>
          </p:nvSpPr>
          <p:spPr>
            <a:xfrm>
              <a:off x="5532783" y="3357223"/>
              <a:ext cx="4770782" cy="952418"/>
            </a:xfrm>
            <a:custGeom>
              <a:avLst/>
              <a:gdLst>
                <a:gd name="connsiteX0" fmla="*/ 0 w 4770782"/>
                <a:gd name="connsiteY0" fmla="*/ 952418 h 952418"/>
                <a:gd name="connsiteX1" fmla="*/ 702365 w 4770782"/>
                <a:gd name="connsiteY1" fmla="*/ 932540 h 952418"/>
                <a:gd name="connsiteX2" fmla="*/ 722243 w 4770782"/>
                <a:gd name="connsiteY2" fmla="*/ 925914 h 952418"/>
                <a:gd name="connsiteX3" fmla="*/ 821634 w 4770782"/>
                <a:gd name="connsiteY3" fmla="*/ 919287 h 952418"/>
                <a:gd name="connsiteX4" fmla="*/ 934278 w 4770782"/>
                <a:gd name="connsiteY4" fmla="*/ 899409 h 952418"/>
                <a:gd name="connsiteX5" fmla="*/ 1020417 w 4770782"/>
                <a:gd name="connsiteY5" fmla="*/ 879531 h 952418"/>
                <a:gd name="connsiteX6" fmla="*/ 1139687 w 4770782"/>
                <a:gd name="connsiteY6" fmla="*/ 866279 h 952418"/>
                <a:gd name="connsiteX7" fmla="*/ 1179443 w 4770782"/>
                <a:gd name="connsiteY7" fmla="*/ 859653 h 952418"/>
                <a:gd name="connsiteX8" fmla="*/ 1239078 w 4770782"/>
                <a:gd name="connsiteY8" fmla="*/ 853027 h 952418"/>
                <a:gd name="connsiteX9" fmla="*/ 1358347 w 4770782"/>
                <a:gd name="connsiteY9" fmla="*/ 833148 h 952418"/>
                <a:gd name="connsiteX10" fmla="*/ 1451113 w 4770782"/>
                <a:gd name="connsiteY10" fmla="*/ 813270 h 952418"/>
                <a:gd name="connsiteX11" fmla="*/ 1484243 w 4770782"/>
                <a:gd name="connsiteY11" fmla="*/ 806644 h 952418"/>
                <a:gd name="connsiteX12" fmla="*/ 1524000 w 4770782"/>
                <a:gd name="connsiteY12" fmla="*/ 793392 h 952418"/>
                <a:gd name="connsiteX13" fmla="*/ 1557130 w 4770782"/>
                <a:gd name="connsiteY13" fmla="*/ 786766 h 952418"/>
                <a:gd name="connsiteX14" fmla="*/ 1663147 w 4770782"/>
                <a:gd name="connsiteY14" fmla="*/ 747009 h 952418"/>
                <a:gd name="connsiteX15" fmla="*/ 1683026 w 4770782"/>
                <a:gd name="connsiteY15" fmla="*/ 740383 h 952418"/>
                <a:gd name="connsiteX16" fmla="*/ 1716156 w 4770782"/>
                <a:gd name="connsiteY16" fmla="*/ 727131 h 952418"/>
                <a:gd name="connsiteX17" fmla="*/ 1782417 w 4770782"/>
                <a:gd name="connsiteY17" fmla="*/ 707253 h 952418"/>
                <a:gd name="connsiteX18" fmla="*/ 1808921 w 4770782"/>
                <a:gd name="connsiteY18" fmla="*/ 694000 h 952418"/>
                <a:gd name="connsiteX19" fmla="*/ 1848678 w 4770782"/>
                <a:gd name="connsiteY19" fmla="*/ 680748 h 952418"/>
                <a:gd name="connsiteX20" fmla="*/ 1881808 w 4770782"/>
                <a:gd name="connsiteY20" fmla="*/ 660870 h 952418"/>
                <a:gd name="connsiteX21" fmla="*/ 1901687 w 4770782"/>
                <a:gd name="connsiteY21" fmla="*/ 654244 h 952418"/>
                <a:gd name="connsiteX22" fmla="*/ 1934817 w 4770782"/>
                <a:gd name="connsiteY22" fmla="*/ 634366 h 952418"/>
                <a:gd name="connsiteX23" fmla="*/ 1981200 w 4770782"/>
                <a:gd name="connsiteY23" fmla="*/ 614487 h 952418"/>
                <a:gd name="connsiteX24" fmla="*/ 2034208 w 4770782"/>
                <a:gd name="connsiteY24" fmla="*/ 601235 h 952418"/>
                <a:gd name="connsiteX25" fmla="*/ 2054087 w 4770782"/>
                <a:gd name="connsiteY25" fmla="*/ 587983 h 952418"/>
                <a:gd name="connsiteX26" fmla="*/ 2107095 w 4770782"/>
                <a:gd name="connsiteY26" fmla="*/ 574731 h 952418"/>
                <a:gd name="connsiteX27" fmla="*/ 2146852 w 4770782"/>
                <a:gd name="connsiteY27" fmla="*/ 561479 h 952418"/>
                <a:gd name="connsiteX28" fmla="*/ 2166730 w 4770782"/>
                <a:gd name="connsiteY28" fmla="*/ 548227 h 952418"/>
                <a:gd name="connsiteX29" fmla="*/ 2219739 w 4770782"/>
                <a:gd name="connsiteY29" fmla="*/ 508470 h 952418"/>
                <a:gd name="connsiteX30" fmla="*/ 2252869 w 4770782"/>
                <a:gd name="connsiteY30" fmla="*/ 501844 h 952418"/>
                <a:gd name="connsiteX31" fmla="*/ 2365513 w 4770782"/>
                <a:gd name="connsiteY31" fmla="*/ 435583 h 952418"/>
                <a:gd name="connsiteX32" fmla="*/ 2458278 w 4770782"/>
                <a:gd name="connsiteY32" fmla="*/ 389200 h 952418"/>
                <a:gd name="connsiteX33" fmla="*/ 2577547 w 4770782"/>
                <a:gd name="connsiteY33" fmla="*/ 342818 h 952418"/>
                <a:gd name="connsiteX34" fmla="*/ 2617304 w 4770782"/>
                <a:gd name="connsiteY34" fmla="*/ 309687 h 952418"/>
                <a:gd name="connsiteX35" fmla="*/ 2637182 w 4770782"/>
                <a:gd name="connsiteY35" fmla="*/ 303061 h 952418"/>
                <a:gd name="connsiteX36" fmla="*/ 2676939 w 4770782"/>
                <a:gd name="connsiteY36" fmla="*/ 276557 h 952418"/>
                <a:gd name="connsiteX37" fmla="*/ 2729947 w 4770782"/>
                <a:gd name="connsiteY37" fmla="*/ 263305 h 952418"/>
                <a:gd name="connsiteX38" fmla="*/ 2769704 w 4770782"/>
                <a:gd name="connsiteY38" fmla="*/ 243427 h 952418"/>
                <a:gd name="connsiteX39" fmla="*/ 2869095 w 4770782"/>
                <a:gd name="connsiteY39" fmla="*/ 190418 h 952418"/>
                <a:gd name="connsiteX40" fmla="*/ 2902226 w 4770782"/>
                <a:gd name="connsiteY40" fmla="*/ 177166 h 952418"/>
                <a:gd name="connsiteX41" fmla="*/ 2928730 w 4770782"/>
                <a:gd name="connsiteY41" fmla="*/ 163914 h 952418"/>
                <a:gd name="connsiteX42" fmla="*/ 2994991 w 4770782"/>
                <a:gd name="connsiteY42" fmla="*/ 144035 h 952418"/>
                <a:gd name="connsiteX43" fmla="*/ 3048000 w 4770782"/>
                <a:gd name="connsiteY43" fmla="*/ 124157 h 952418"/>
                <a:gd name="connsiteX44" fmla="*/ 3081130 w 4770782"/>
                <a:gd name="connsiteY44" fmla="*/ 117531 h 952418"/>
                <a:gd name="connsiteX45" fmla="*/ 3167269 w 4770782"/>
                <a:gd name="connsiteY45" fmla="*/ 91027 h 952418"/>
                <a:gd name="connsiteX46" fmla="*/ 3220278 w 4770782"/>
                <a:gd name="connsiteY46" fmla="*/ 71148 h 952418"/>
                <a:gd name="connsiteX47" fmla="*/ 3286539 w 4770782"/>
                <a:gd name="connsiteY47" fmla="*/ 64522 h 952418"/>
                <a:gd name="connsiteX48" fmla="*/ 3339547 w 4770782"/>
                <a:gd name="connsiteY48" fmla="*/ 51270 h 952418"/>
                <a:gd name="connsiteX49" fmla="*/ 3498574 w 4770782"/>
                <a:gd name="connsiteY49" fmla="*/ 38018 h 952418"/>
                <a:gd name="connsiteX50" fmla="*/ 3902765 w 4770782"/>
                <a:gd name="connsiteY50" fmla="*/ 31392 h 952418"/>
                <a:gd name="connsiteX51" fmla="*/ 3975652 w 4770782"/>
                <a:gd name="connsiteY51" fmla="*/ 51270 h 952418"/>
                <a:gd name="connsiteX52" fmla="*/ 4101547 w 4770782"/>
                <a:gd name="connsiteY52" fmla="*/ 64522 h 952418"/>
                <a:gd name="connsiteX53" fmla="*/ 4154556 w 4770782"/>
                <a:gd name="connsiteY53" fmla="*/ 84400 h 952418"/>
                <a:gd name="connsiteX54" fmla="*/ 4200939 w 4770782"/>
                <a:gd name="connsiteY54" fmla="*/ 91027 h 952418"/>
                <a:gd name="connsiteX55" fmla="*/ 4240695 w 4770782"/>
                <a:gd name="connsiteY55" fmla="*/ 97653 h 952418"/>
                <a:gd name="connsiteX56" fmla="*/ 4300330 w 4770782"/>
                <a:gd name="connsiteY56" fmla="*/ 130783 h 952418"/>
                <a:gd name="connsiteX57" fmla="*/ 4326834 w 4770782"/>
                <a:gd name="connsiteY57" fmla="*/ 144035 h 952418"/>
                <a:gd name="connsiteX58" fmla="*/ 4359965 w 4770782"/>
                <a:gd name="connsiteY58" fmla="*/ 163914 h 952418"/>
                <a:gd name="connsiteX59" fmla="*/ 4379843 w 4770782"/>
                <a:gd name="connsiteY59" fmla="*/ 177166 h 952418"/>
                <a:gd name="connsiteX60" fmla="*/ 4419600 w 4770782"/>
                <a:gd name="connsiteY60" fmla="*/ 190418 h 952418"/>
                <a:gd name="connsiteX61" fmla="*/ 4512365 w 4770782"/>
                <a:gd name="connsiteY61" fmla="*/ 263305 h 952418"/>
                <a:gd name="connsiteX62" fmla="*/ 4525617 w 4770782"/>
                <a:gd name="connsiteY62" fmla="*/ 303061 h 952418"/>
                <a:gd name="connsiteX63" fmla="*/ 4558747 w 4770782"/>
                <a:gd name="connsiteY63" fmla="*/ 349444 h 952418"/>
                <a:gd name="connsiteX64" fmla="*/ 4585252 w 4770782"/>
                <a:gd name="connsiteY64" fmla="*/ 389200 h 952418"/>
                <a:gd name="connsiteX65" fmla="*/ 4598504 w 4770782"/>
                <a:gd name="connsiteY65" fmla="*/ 409079 h 952418"/>
                <a:gd name="connsiteX66" fmla="*/ 4678017 w 4770782"/>
                <a:gd name="connsiteY66" fmla="*/ 442209 h 952418"/>
                <a:gd name="connsiteX67" fmla="*/ 4750904 w 4770782"/>
                <a:gd name="connsiteY67" fmla="*/ 508470 h 952418"/>
                <a:gd name="connsiteX68" fmla="*/ 4770782 w 4770782"/>
                <a:gd name="connsiteY68" fmla="*/ 541600 h 952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4770782" h="952418">
                  <a:moveTo>
                    <a:pt x="0" y="952418"/>
                  </a:moveTo>
                  <a:cubicBezTo>
                    <a:pt x="277996" y="896819"/>
                    <a:pt x="7892" y="946570"/>
                    <a:pt x="702365" y="932540"/>
                  </a:cubicBezTo>
                  <a:cubicBezTo>
                    <a:pt x="709348" y="932399"/>
                    <a:pt x="715301" y="926685"/>
                    <a:pt x="722243" y="925914"/>
                  </a:cubicBezTo>
                  <a:cubicBezTo>
                    <a:pt x="755244" y="922247"/>
                    <a:pt x="788504" y="921496"/>
                    <a:pt x="821634" y="919287"/>
                  </a:cubicBezTo>
                  <a:cubicBezTo>
                    <a:pt x="859182" y="912661"/>
                    <a:pt x="897288" y="908656"/>
                    <a:pt x="934278" y="899409"/>
                  </a:cubicBezTo>
                  <a:cubicBezTo>
                    <a:pt x="958628" y="893322"/>
                    <a:pt x="993904" y="883610"/>
                    <a:pt x="1020417" y="879531"/>
                  </a:cubicBezTo>
                  <a:cubicBezTo>
                    <a:pt x="1078804" y="870548"/>
                    <a:pt x="1076459" y="874182"/>
                    <a:pt x="1139687" y="866279"/>
                  </a:cubicBezTo>
                  <a:cubicBezTo>
                    <a:pt x="1153018" y="864613"/>
                    <a:pt x="1166126" y="861429"/>
                    <a:pt x="1179443" y="859653"/>
                  </a:cubicBezTo>
                  <a:cubicBezTo>
                    <a:pt x="1199268" y="857010"/>
                    <a:pt x="1219200" y="855236"/>
                    <a:pt x="1239078" y="853027"/>
                  </a:cubicBezTo>
                  <a:cubicBezTo>
                    <a:pt x="1317275" y="826959"/>
                    <a:pt x="1239762" y="849318"/>
                    <a:pt x="1358347" y="833148"/>
                  </a:cubicBezTo>
                  <a:cubicBezTo>
                    <a:pt x="1416496" y="825219"/>
                    <a:pt x="1409646" y="822485"/>
                    <a:pt x="1451113" y="813270"/>
                  </a:cubicBezTo>
                  <a:cubicBezTo>
                    <a:pt x="1462107" y="810827"/>
                    <a:pt x="1473378" y="809607"/>
                    <a:pt x="1484243" y="806644"/>
                  </a:cubicBezTo>
                  <a:cubicBezTo>
                    <a:pt x="1497720" y="802969"/>
                    <a:pt x="1510523" y="797067"/>
                    <a:pt x="1524000" y="793392"/>
                  </a:cubicBezTo>
                  <a:cubicBezTo>
                    <a:pt x="1534865" y="790429"/>
                    <a:pt x="1546446" y="790327"/>
                    <a:pt x="1557130" y="786766"/>
                  </a:cubicBezTo>
                  <a:cubicBezTo>
                    <a:pt x="1592935" y="774831"/>
                    <a:pt x="1627341" y="758944"/>
                    <a:pt x="1663147" y="747009"/>
                  </a:cubicBezTo>
                  <a:cubicBezTo>
                    <a:pt x="1669773" y="744800"/>
                    <a:pt x="1676486" y="742835"/>
                    <a:pt x="1683026" y="740383"/>
                  </a:cubicBezTo>
                  <a:cubicBezTo>
                    <a:pt x="1694163" y="736207"/>
                    <a:pt x="1704978" y="731196"/>
                    <a:pt x="1716156" y="727131"/>
                  </a:cubicBezTo>
                  <a:cubicBezTo>
                    <a:pt x="1751645" y="714226"/>
                    <a:pt x="1750776" y="715163"/>
                    <a:pt x="1782417" y="707253"/>
                  </a:cubicBezTo>
                  <a:cubicBezTo>
                    <a:pt x="1791252" y="702835"/>
                    <a:pt x="1799750" y="697669"/>
                    <a:pt x="1808921" y="694000"/>
                  </a:cubicBezTo>
                  <a:cubicBezTo>
                    <a:pt x="1821891" y="688812"/>
                    <a:pt x="1835961" y="686528"/>
                    <a:pt x="1848678" y="680748"/>
                  </a:cubicBezTo>
                  <a:cubicBezTo>
                    <a:pt x="1860402" y="675419"/>
                    <a:pt x="1870289" y="666629"/>
                    <a:pt x="1881808" y="660870"/>
                  </a:cubicBezTo>
                  <a:cubicBezTo>
                    <a:pt x="1888055" y="657746"/>
                    <a:pt x="1895440" y="657368"/>
                    <a:pt x="1901687" y="654244"/>
                  </a:cubicBezTo>
                  <a:cubicBezTo>
                    <a:pt x="1913206" y="648485"/>
                    <a:pt x="1923298" y="640126"/>
                    <a:pt x="1934817" y="634366"/>
                  </a:cubicBezTo>
                  <a:cubicBezTo>
                    <a:pt x="1949862" y="626843"/>
                    <a:pt x="1965242" y="619806"/>
                    <a:pt x="1981200" y="614487"/>
                  </a:cubicBezTo>
                  <a:cubicBezTo>
                    <a:pt x="1998478" y="608727"/>
                    <a:pt x="2034208" y="601235"/>
                    <a:pt x="2034208" y="601235"/>
                  </a:cubicBezTo>
                  <a:cubicBezTo>
                    <a:pt x="2040834" y="596818"/>
                    <a:pt x="2046603" y="590705"/>
                    <a:pt x="2054087" y="587983"/>
                  </a:cubicBezTo>
                  <a:cubicBezTo>
                    <a:pt x="2071204" y="581759"/>
                    <a:pt x="2089583" y="579734"/>
                    <a:pt x="2107095" y="574731"/>
                  </a:cubicBezTo>
                  <a:cubicBezTo>
                    <a:pt x="2120527" y="570893"/>
                    <a:pt x="2133600" y="565896"/>
                    <a:pt x="2146852" y="561479"/>
                  </a:cubicBezTo>
                  <a:cubicBezTo>
                    <a:pt x="2153478" y="557062"/>
                    <a:pt x="2160290" y="552911"/>
                    <a:pt x="2166730" y="548227"/>
                  </a:cubicBezTo>
                  <a:cubicBezTo>
                    <a:pt x="2184593" y="535236"/>
                    <a:pt x="2200292" y="518942"/>
                    <a:pt x="2219739" y="508470"/>
                  </a:cubicBezTo>
                  <a:cubicBezTo>
                    <a:pt x="2229655" y="503131"/>
                    <a:pt x="2241826" y="504053"/>
                    <a:pt x="2252869" y="501844"/>
                  </a:cubicBezTo>
                  <a:cubicBezTo>
                    <a:pt x="2296302" y="472889"/>
                    <a:pt x="2293016" y="474421"/>
                    <a:pt x="2365513" y="435583"/>
                  </a:cubicBezTo>
                  <a:cubicBezTo>
                    <a:pt x="2395987" y="419258"/>
                    <a:pt x="2425481" y="400132"/>
                    <a:pt x="2458278" y="389200"/>
                  </a:cubicBezTo>
                  <a:cubicBezTo>
                    <a:pt x="2490805" y="378358"/>
                    <a:pt x="2545175" y="364400"/>
                    <a:pt x="2577547" y="342818"/>
                  </a:cubicBezTo>
                  <a:cubicBezTo>
                    <a:pt x="2591900" y="333249"/>
                    <a:pt x="2602951" y="319256"/>
                    <a:pt x="2617304" y="309687"/>
                  </a:cubicBezTo>
                  <a:cubicBezTo>
                    <a:pt x="2623115" y="305813"/>
                    <a:pt x="2631076" y="306453"/>
                    <a:pt x="2637182" y="303061"/>
                  </a:cubicBezTo>
                  <a:cubicBezTo>
                    <a:pt x="2651105" y="295326"/>
                    <a:pt x="2662300" y="282831"/>
                    <a:pt x="2676939" y="276557"/>
                  </a:cubicBezTo>
                  <a:cubicBezTo>
                    <a:pt x="2693680" y="269383"/>
                    <a:pt x="2713657" y="271450"/>
                    <a:pt x="2729947" y="263305"/>
                  </a:cubicBezTo>
                  <a:cubicBezTo>
                    <a:pt x="2743199" y="256679"/>
                    <a:pt x="2756659" y="250451"/>
                    <a:pt x="2769704" y="243427"/>
                  </a:cubicBezTo>
                  <a:cubicBezTo>
                    <a:pt x="2803490" y="225235"/>
                    <a:pt x="2833163" y="204791"/>
                    <a:pt x="2869095" y="190418"/>
                  </a:cubicBezTo>
                  <a:cubicBezTo>
                    <a:pt x="2880139" y="186001"/>
                    <a:pt x="2891357" y="181997"/>
                    <a:pt x="2902226" y="177166"/>
                  </a:cubicBezTo>
                  <a:cubicBezTo>
                    <a:pt x="2911252" y="173154"/>
                    <a:pt x="2919559" y="167582"/>
                    <a:pt x="2928730" y="163914"/>
                  </a:cubicBezTo>
                  <a:cubicBezTo>
                    <a:pt x="3005533" y="133192"/>
                    <a:pt x="2936417" y="163560"/>
                    <a:pt x="2994991" y="144035"/>
                  </a:cubicBezTo>
                  <a:cubicBezTo>
                    <a:pt x="3012894" y="138067"/>
                    <a:pt x="3029963" y="129707"/>
                    <a:pt x="3048000" y="124157"/>
                  </a:cubicBezTo>
                  <a:cubicBezTo>
                    <a:pt x="3058764" y="120845"/>
                    <a:pt x="3070279" y="120545"/>
                    <a:pt x="3081130" y="117531"/>
                  </a:cubicBezTo>
                  <a:cubicBezTo>
                    <a:pt x="3110075" y="109491"/>
                    <a:pt x="3138769" y="100527"/>
                    <a:pt x="3167269" y="91027"/>
                  </a:cubicBezTo>
                  <a:cubicBezTo>
                    <a:pt x="3185172" y="85059"/>
                    <a:pt x="3201856" y="75242"/>
                    <a:pt x="3220278" y="71148"/>
                  </a:cubicBezTo>
                  <a:cubicBezTo>
                    <a:pt x="3241947" y="66333"/>
                    <a:pt x="3264452" y="66731"/>
                    <a:pt x="3286539" y="64522"/>
                  </a:cubicBezTo>
                  <a:cubicBezTo>
                    <a:pt x="3304208" y="60105"/>
                    <a:pt x="3321582" y="54264"/>
                    <a:pt x="3339547" y="51270"/>
                  </a:cubicBezTo>
                  <a:cubicBezTo>
                    <a:pt x="3368679" y="46415"/>
                    <a:pt x="3478603" y="39444"/>
                    <a:pt x="3498574" y="38018"/>
                  </a:cubicBezTo>
                  <a:cubicBezTo>
                    <a:pt x="3635454" y="-30422"/>
                    <a:pt x="3543831" y="10278"/>
                    <a:pt x="3902765" y="31392"/>
                  </a:cubicBezTo>
                  <a:cubicBezTo>
                    <a:pt x="3927905" y="32871"/>
                    <a:pt x="3950812" y="47130"/>
                    <a:pt x="3975652" y="51270"/>
                  </a:cubicBezTo>
                  <a:cubicBezTo>
                    <a:pt x="4017275" y="58207"/>
                    <a:pt x="4059582" y="60105"/>
                    <a:pt x="4101547" y="64522"/>
                  </a:cubicBezTo>
                  <a:cubicBezTo>
                    <a:pt x="4119217" y="71148"/>
                    <a:pt x="4136322" y="79538"/>
                    <a:pt x="4154556" y="84400"/>
                  </a:cubicBezTo>
                  <a:cubicBezTo>
                    <a:pt x="4169647" y="88424"/>
                    <a:pt x="4185503" y="88652"/>
                    <a:pt x="4200939" y="91027"/>
                  </a:cubicBezTo>
                  <a:cubicBezTo>
                    <a:pt x="4214218" y="93070"/>
                    <a:pt x="4227443" y="95444"/>
                    <a:pt x="4240695" y="97653"/>
                  </a:cubicBezTo>
                  <a:cubicBezTo>
                    <a:pt x="4367456" y="161032"/>
                    <a:pt x="4225190" y="87846"/>
                    <a:pt x="4300330" y="130783"/>
                  </a:cubicBezTo>
                  <a:cubicBezTo>
                    <a:pt x="4308906" y="135684"/>
                    <a:pt x="4318200" y="139238"/>
                    <a:pt x="4326834" y="144035"/>
                  </a:cubicBezTo>
                  <a:cubicBezTo>
                    <a:pt x="4338092" y="150290"/>
                    <a:pt x="4349044" y="157088"/>
                    <a:pt x="4359965" y="163914"/>
                  </a:cubicBezTo>
                  <a:cubicBezTo>
                    <a:pt x="4366718" y="168135"/>
                    <a:pt x="4372566" y="173932"/>
                    <a:pt x="4379843" y="177166"/>
                  </a:cubicBezTo>
                  <a:cubicBezTo>
                    <a:pt x="4392608" y="182839"/>
                    <a:pt x="4406883" y="184638"/>
                    <a:pt x="4419600" y="190418"/>
                  </a:cubicBezTo>
                  <a:cubicBezTo>
                    <a:pt x="4456804" y="207328"/>
                    <a:pt x="4481790" y="236127"/>
                    <a:pt x="4512365" y="263305"/>
                  </a:cubicBezTo>
                  <a:cubicBezTo>
                    <a:pt x="4516782" y="276557"/>
                    <a:pt x="4519944" y="290296"/>
                    <a:pt x="4525617" y="303061"/>
                  </a:cubicBezTo>
                  <a:cubicBezTo>
                    <a:pt x="4529365" y="311494"/>
                    <a:pt x="4555764" y="345183"/>
                    <a:pt x="4558747" y="349444"/>
                  </a:cubicBezTo>
                  <a:cubicBezTo>
                    <a:pt x="4567881" y="362492"/>
                    <a:pt x="4576417" y="375948"/>
                    <a:pt x="4585252" y="389200"/>
                  </a:cubicBezTo>
                  <a:cubicBezTo>
                    <a:pt x="4589670" y="395826"/>
                    <a:pt x="4591153" y="406016"/>
                    <a:pt x="4598504" y="409079"/>
                  </a:cubicBezTo>
                  <a:cubicBezTo>
                    <a:pt x="4625008" y="420122"/>
                    <a:pt x="4652641" y="428774"/>
                    <a:pt x="4678017" y="442209"/>
                  </a:cubicBezTo>
                  <a:cubicBezTo>
                    <a:pt x="4695079" y="451242"/>
                    <a:pt x="4741832" y="497382"/>
                    <a:pt x="4750904" y="508470"/>
                  </a:cubicBezTo>
                  <a:cubicBezTo>
                    <a:pt x="4759059" y="518437"/>
                    <a:pt x="4770782" y="541600"/>
                    <a:pt x="4770782" y="541600"/>
                  </a:cubicBezTo>
                </a:path>
              </a:pathLst>
            </a:custGeom>
            <a:ln/>
          </p:spPr>
          <p:style>
            <a:lnRef idx="2">
              <a:schemeClr val="accent5"/>
            </a:lnRef>
            <a:fillRef idx="0">
              <a:schemeClr val="accent5"/>
            </a:fillRef>
            <a:effectRef idx="1">
              <a:schemeClr val="accent5"/>
            </a:effectRef>
            <a:fontRef idx="minor">
              <a:schemeClr val="tx1"/>
            </a:fontRef>
          </p:style>
          <p:txBody>
            <a:bodyPr rtlCol="0" anchor="ctr"/>
            <a:lstStyle/>
            <a:p>
              <a:pPr algn="ctr"/>
              <a:endParaRPr lang="de-DE"/>
            </a:p>
          </p:txBody>
        </p:sp>
        <p:sp>
          <p:nvSpPr>
            <p:cNvPr id="433" name="Freihandform: Form 432">
              <a:extLst>
                <a:ext uri="{FF2B5EF4-FFF2-40B4-BE49-F238E27FC236}">
                  <a16:creationId xmlns:a16="http://schemas.microsoft.com/office/drawing/2014/main" id="{821E60FB-7297-85AD-A9A7-E706222B9ABC}"/>
                </a:ext>
              </a:extLst>
            </p:cNvPr>
            <p:cNvSpPr/>
            <p:nvPr/>
          </p:nvSpPr>
          <p:spPr>
            <a:xfrm>
              <a:off x="6964017" y="5303554"/>
              <a:ext cx="3359426" cy="563217"/>
            </a:xfrm>
            <a:custGeom>
              <a:avLst/>
              <a:gdLst>
                <a:gd name="connsiteX0" fmla="*/ 0 w 3359426"/>
                <a:gd name="connsiteY0" fmla="*/ 410817 h 563217"/>
                <a:gd name="connsiteX1" fmla="*/ 33131 w 3359426"/>
                <a:gd name="connsiteY1" fmla="*/ 384313 h 563217"/>
                <a:gd name="connsiteX2" fmla="*/ 53009 w 3359426"/>
                <a:gd name="connsiteY2" fmla="*/ 364435 h 563217"/>
                <a:gd name="connsiteX3" fmla="*/ 72887 w 3359426"/>
                <a:gd name="connsiteY3" fmla="*/ 357809 h 563217"/>
                <a:gd name="connsiteX4" fmla="*/ 139148 w 3359426"/>
                <a:gd name="connsiteY4" fmla="*/ 331304 h 563217"/>
                <a:gd name="connsiteX5" fmla="*/ 165653 w 3359426"/>
                <a:gd name="connsiteY5" fmla="*/ 324678 h 563217"/>
                <a:gd name="connsiteX6" fmla="*/ 185531 w 3359426"/>
                <a:gd name="connsiteY6" fmla="*/ 311426 h 563217"/>
                <a:gd name="connsiteX7" fmla="*/ 205409 w 3359426"/>
                <a:gd name="connsiteY7" fmla="*/ 304800 h 563217"/>
                <a:gd name="connsiteX8" fmla="*/ 271670 w 3359426"/>
                <a:gd name="connsiteY8" fmla="*/ 284922 h 563217"/>
                <a:gd name="connsiteX9" fmla="*/ 337931 w 3359426"/>
                <a:gd name="connsiteY9" fmla="*/ 245165 h 563217"/>
                <a:gd name="connsiteX10" fmla="*/ 384313 w 3359426"/>
                <a:gd name="connsiteY10" fmla="*/ 231913 h 563217"/>
                <a:gd name="connsiteX11" fmla="*/ 404192 w 3359426"/>
                <a:gd name="connsiteY11" fmla="*/ 225287 h 563217"/>
                <a:gd name="connsiteX12" fmla="*/ 430696 w 3359426"/>
                <a:gd name="connsiteY12" fmla="*/ 212035 h 563217"/>
                <a:gd name="connsiteX13" fmla="*/ 470453 w 3359426"/>
                <a:gd name="connsiteY13" fmla="*/ 205409 h 563217"/>
                <a:gd name="connsiteX14" fmla="*/ 510209 w 3359426"/>
                <a:gd name="connsiteY14" fmla="*/ 185530 h 563217"/>
                <a:gd name="connsiteX15" fmla="*/ 589722 w 3359426"/>
                <a:gd name="connsiteY15" fmla="*/ 172278 h 563217"/>
                <a:gd name="connsiteX16" fmla="*/ 682487 w 3359426"/>
                <a:gd name="connsiteY16" fmla="*/ 152400 h 563217"/>
                <a:gd name="connsiteX17" fmla="*/ 722244 w 3359426"/>
                <a:gd name="connsiteY17" fmla="*/ 145774 h 563217"/>
                <a:gd name="connsiteX18" fmla="*/ 815009 w 3359426"/>
                <a:gd name="connsiteY18" fmla="*/ 132522 h 563217"/>
                <a:gd name="connsiteX19" fmla="*/ 868018 w 3359426"/>
                <a:gd name="connsiteY19" fmla="*/ 125896 h 563217"/>
                <a:gd name="connsiteX20" fmla="*/ 980661 w 3359426"/>
                <a:gd name="connsiteY20" fmla="*/ 106017 h 563217"/>
                <a:gd name="connsiteX21" fmla="*/ 1046922 w 3359426"/>
                <a:gd name="connsiteY21" fmla="*/ 92765 h 563217"/>
                <a:gd name="connsiteX22" fmla="*/ 1119809 w 3359426"/>
                <a:gd name="connsiteY22" fmla="*/ 66261 h 563217"/>
                <a:gd name="connsiteX23" fmla="*/ 1172818 w 3359426"/>
                <a:gd name="connsiteY23" fmla="*/ 53009 h 563217"/>
                <a:gd name="connsiteX24" fmla="*/ 1199322 w 3359426"/>
                <a:gd name="connsiteY24" fmla="*/ 46383 h 563217"/>
                <a:gd name="connsiteX25" fmla="*/ 1258957 w 3359426"/>
                <a:gd name="connsiteY25" fmla="*/ 26504 h 563217"/>
                <a:gd name="connsiteX26" fmla="*/ 1278835 w 3359426"/>
                <a:gd name="connsiteY26" fmla="*/ 19878 h 563217"/>
                <a:gd name="connsiteX27" fmla="*/ 1451113 w 3359426"/>
                <a:gd name="connsiteY27" fmla="*/ 0 h 563217"/>
                <a:gd name="connsiteX28" fmla="*/ 2146853 w 3359426"/>
                <a:gd name="connsiteY28" fmla="*/ 13252 h 563217"/>
                <a:gd name="connsiteX29" fmla="*/ 2292626 w 3359426"/>
                <a:gd name="connsiteY29" fmla="*/ 46383 h 563217"/>
                <a:gd name="connsiteX30" fmla="*/ 2358887 w 3359426"/>
                <a:gd name="connsiteY30" fmla="*/ 72887 h 563217"/>
                <a:gd name="connsiteX31" fmla="*/ 2451653 w 3359426"/>
                <a:gd name="connsiteY31" fmla="*/ 99391 h 563217"/>
                <a:gd name="connsiteX32" fmla="*/ 2478157 w 3359426"/>
                <a:gd name="connsiteY32" fmla="*/ 119269 h 563217"/>
                <a:gd name="connsiteX33" fmla="*/ 2570922 w 3359426"/>
                <a:gd name="connsiteY33" fmla="*/ 145774 h 563217"/>
                <a:gd name="connsiteX34" fmla="*/ 2617305 w 3359426"/>
                <a:gd name="connsiteY34" fmla="*/ 172278 h 563217"/>
                <a:gd name="connsiteX35" fmla="*/ 2643809 w 3359426"/>
                <a:gd name="connsiteY35" fmla="*/ 192156 h 563217"/>
                <a:gd name="connsiteX36" fmla="*/ 2723322 w 3359426"/>
                <a:gd name="connsiteY36" fmla="*/ 225287 h 563217"/>
                <a:gd name="connsiteX37" fmla="*/ 2769705 w 3359426"/>
                <a:gd name="connsiteY37" fmla="*/ 258417 h 563217"/>
                <a:gd name="connsiteX38" fmla="*/ 2842592 w 3359426"/>
                <a:gd name="connsiteY38" fmla="*/ 291548 h 563217"/>
                <a:gd name="connsiteX39" fmla="*/ 2928731 w 3359426"/>
                <a:gd name="connsiteY39" fmla="*/ 344556 h 563217"/>
                <a:gd name="connsiteX40" fmla="*/ 2961861 w 3359426"/>
                <a:gd name="connsiteY40" fmla="*/ 357809 h 563217"/>
                <a:gd name="connsiteX41" fmla="*/ 3054626 w 3359426"/>
                <a:gd name="connsiteY41" fmla="*/ 410817 h 563217"/>
                <a:gd name="connsiteX42" fmla="*/ 3160644 w 3359426"/>
                <a:gd name="connsiteY42" fmla="*/ 483704 h 563217"/>
                <a:gd name="connsiteX43" fmla="*/ 3266661 w 3359426"/>
                <a:gd name="connsiteY43" fmla="*/ 530087 h 563217"/>
                <a:gd name="connsiteX44" fmla="*/ 3359426 w 3359426"/>
                <a:gd name="connsiteY44" fmla="*/ 563217 h 56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359426" h="563217">
                  <a:moveTo>
                    <a:pt x="0" y="410817"/>
                  </a:moveTo>
                  <a:cubicBezTo>
                    <a:pt x="11044" y="401982"/>
                    <a:pt x="22488" y="393626"/>
                    <a:pt x="33131" y="384313"/>
                  </a:cubicBezTo>
                  <a:cubicBezTo>
                    <a:pt x="40183" y="378142"/>
                    <a:pt x="45212" y="369633"/>
                    <a:pt x="53009" y="364435"/>
                  </a:cubicBezTo>
                  <a:cubicBezTo>
                    <a:pt x="58820" y="360561"/>
                    <a:pt x="66261" y="360018"/>
                    <a:pt x="72887" y="357809"/>
                  </a:cubicBezTo>
                  <a:cubicBezTo>
                    <a:pt x="99019" y="331677"/>
                    <a:pt x="80079" y="346071"/>
                    <a:pt x="139148" y="331304"/>
                  </a:cubicBezTo>
                  <a:lnTo>
                    <a:pt x="165653" y="324678"/>
                  </a:lnTo>
                  <a:cubicBezTo>
                    <a:pt x="172279" y="320261"/>
                    <a:pt x="178408" y="314987"/>
                    <a:pt x="185531" y="311426"/>
                  </a:cubicBezTo>
                  <a:cubicBezTo>
                    <a:pt x="191778" y="308302"/>
                    <a:pt x="198869" y="307252"/>
                    <a:pt x="205409" y="304800"/>
                  </a:cubicBezTo>
                  <a:cubicBezTo>
                    <a:pt x="255222" y="286120"/>
                    <a:pt x="220982" y="295060"/>
                    <a:pt x="271670" y="284922"/>
                  </a:cubicBezTo>
                  <a:cubicBezTo>
                    <a:pt x="293757" y="271670"/>
                    <a:pt x="313164" y="252241"/>
                    <a:pt x="337931" y="245165"/>
                  </a:cubicBezTo>
                  <a:lnTo>
                    <a:pt x="384313" y="231913"/>
                  </a:lnTo>
                  <a:cubicBezTo>
                    <a:pt x="391003" y="229906"/>
                    <a:pt x="397772" y="228038"/>
                    <a:pt x="404192" y="225287"/>
                  </a:cubicBezTo>
                  <a:cubicBezTo>
                    <a:pt x="413271" y="221396"/>
                    <a:pt x="421235" y="214873"/>
                    <a:pt x="430696" y="212035"/>
                  </a:cubicBezTo>
                  <a:cubicBezTo>
                    <a:pt x="443565" y="208174"/>
                    <a:pt x="457201" y="207618"/>
                    <a:pt x="470453" y="205409"/>
                  </a:cubicBezTo>
                  <a:cubicBezTo>
                    <a:pt x="483705" y="198783"/>
                    <a:pt x="496452" y="191033"/>
                    <a:pt x="510209" y="185530"/>
                  </a:cubicBezTo>
                  <a:cubicBezTo>
                    <a:pt x="530108" y="177570"/>
                    <a:pt x="574373" y="174197"/>
                    <a:pt x="589722" y="172278"/>
                  </a:cubicBezTo>
                  <a:cubicBezTo>
                    <a:pt x="651290" y="151756"/>
                    <a:pt x="609349" y="162848"/>
                    <a:pt x="682487" y="152400"/>
                  </a:cubicBezTo>
                  <a:cubicBezTo>
                    <a:pt x="695787" y="150500"/>
                    <a:pt x="708958" y="147767"/>
                    <a:pt x="722244" y="145774"/>
                  </a:cubicBezTo>
                  <a:lnTo>
                    <a:pt x="815009" y="132522"/>
                  </a:lnTo>
                  <a:cubicBezTo>
                    <a:pt x="832653" y="130116"/>
                    <a:pt x="850434" y="128709"/>
                    <a:pt x="868018" y="125896"/>
                  </a:cubicBezTo>
                  <a:cubicBezTo>
                    <a:pt x="905667" y="119872"/>
                    <a:pt x="943671" y="115264"/>
                    <a:pt x="980661" y="106017"/>
                  </a:cubicBezTo>
                  <a:cubicBezTo>
                    <a:pt x="1020200" y="96133"/>
                    <a:pt x="998183" y="100888"/>
                    <a:pt x="1046922" y="92765"/>
                  </a:cubicBezTo>
                  <a:cubicBezTo>
                    <a:pt x="1074912" y="81569"/>
                    <a:pt x="1090039" y="74767"/>
                    <a:pt x="1119809" y="66261"/>
                  </a:cubicBezTo>
                  <a:cubicBezTo>
                    <a:pt x="1137322" y="61257"/>
                    <a:pt x="1155148" y="57426"/>
                    <a:pt x="1172818" y="53009"/>
                  </a:cubicBezTo>
                  <a:cubicBezTo>
                    <a:pt x="1181653" y="50800"/>
                    <a:pt x="1190683" y="49263"/>
                    <a:pt x="1199322" y="46383"/>
                  </a:cubicBezTo>
                  <a:lnTo>
                    <a:pt x="1258957" y="26504"/>
                  </a:lnTo>
                  <a:cubicBezTo>
                    <a:pt x="1265583" y="24295"/>
                    <a:pt x="1271893" y="20649"/>
                    <a:pt x="1278835" y="19878"/>
                  </a:cubicBezTo>
                  <a:cubicBezTo>
                    <a:pt x="1415803" y="4660"/>
                    <a:pt x="1358413" y="11588"/>
                    <a:pt x="1451113" y="0"/>
                  </a:cubicBezTo>
                  <a:lnTo>
                    <a:pt x="2146853" y="13252"/>
                  </a:lnTo>
                  <a:cubicBezTo>
                    <a:pt x="2189248" y="14701"/>
                    <a:pt x="2252003" y="32165"/>
                    <a:pt x="2292626" y="46383"/>
                  </a:cubicBezTo>
                  <a:cubicBezTo>
                    <a:pt x="2315079" y="54242"/>
                    <a:pt x="2336102" y="66052"/>
                    <a:pt x="2358887" y="72887"/>
                  </a:cubicBezTo>
                  <a:cubicBezTo>
                    <a:pt x="2433871" y="95382"/>
                    <a:pt x="2402777" y="87172"/>
                    <a:pt x="2451653" y="99391"/>
                  </a:cubicBezTo>
                  <a:cubicBezTo>
                    <a:pt x="2460488" y="106017"/>
                    <a:pt x="2468503" y="113906"/>
                    <a:pt x="2478157" y="119269"/>
                  </a:cubicBezTo>
                  <a:cubicBezTo>
                    <a:pt x="2505913" y="134690"/>
                    <a:pt x="2541245" y="139179"/>
                    <a:pt x="2570922" y="145774"/>
                  </a:cubicBezTo>
                  <a:cubicBezTo>
                    <a:pt x="2667003" y="217835"/>
                    <a:pt x="2546477" y="131806"/>
                    <a:pt x="2617305" y="172278"/>
                  </a:cubicBezTo>
                  <a:cubicBezTo>
                    <a:pt x="2626893" y="177757"/>
                    <a:pt x="2634270" y="186592"/>
                    <a:pt x="2643809" y="192156"/>
                  </a:cubicBezTo>
                  <a:cubicBezTo>
                    <a:pt x="2689676" y="218912"/>
                    <a:pt x="2684700" y="215631"/>
                    <a:pt x="2723322" y="225287"/>
                  </a:cubicBezTo>
                  <a:cubicBezTo>
                    <a:pt x="2738783" y="236330"/>
                    <a:pt x="2753675" y="248216"/>
                    <a:pt x="2769705" y="258417"/>
                  </a:cubicBezTo>
                  <a:cubicBezTo>
                    <a:pt x="2791438" y="272247"/>
                    <a:pt x="2820877" y="279605"/>
                    <a:pt x="2842592" y="291548"/>
                  </a:cubicBezTo>
                  <a:cubicBezTo>
                    <a:pt x="2872133" y="307795"/>
                    <a:pt x="2899260" y="328183"/>
                    <a:pt x="2928731" y="344556"/>
                  </a:cubicBezTo>
                  <a:cubicBezTo>
                    <a:pt x="2939128" y="350332"/>
                    <a:pt x="2951336" y="352269"/>
                    <a:pt x="2961861" y="357809"/>
                  </a:cubicBezTo>
                  <a:cubicBezTo>
                    <a:pt x="2993376" y="374396"/>
                    <a:pt x="3024539" y="391762"/>
                    <a:pt x="3054626" y="410817"/>
                  </a:cubicBezTo>
                  <a:cubicBezTo>
                    <a:pt x="3090856" y="433763"/>
                    <a:pt x="3123266" y="462679"/>
                    <a:pt x="3160644" y="483704"/>
                  </a:cubicBezTo>
                  <a:cubicBezTo>
                    <a:pt x="3194263" y="502615"/>
                    <a:pt x="3230847" y="515761"/>
                    <a:pt x="3266661" y="530087"/>
                  </a:cubicBezTo>
                  <a:cubicBezTo>
                    <a:pt x="3341377" y="559973"/>
                    <a:pt x="3309844" y="550821"/>
                    <a:pt x="3359426" y="563217"/>
                  </a:cubicBezTo>
                </a:path>
              </a:pathLst>
            </a:custGeom>
            <a:ln>
              <a:solidFill>
                <a:srgbClr val="FF0000"/>
              </a:solidFill>
            </a:ln>
          </p:spPr>
          <p:style>
            <a:lnRef idx="2">
              <a:schemeClr val="accent4"/>
            </a:lnRef>
            <a:fillRef idx="0">
              <a:schemeClr val="accent4"/>
            </a:fillRef>
            <a:effectRef idx="1">
              <a:schemeClr val="accent4"/>
            </a:effectRef>
            <a:fontRef idx="minor">
              <a:schemeClr val="tx1"/>
            </a:fontRef>
          </p:style>
          <p:txBody>
            <a:bodyPr rtlCol="0" anchor="ctr"/>
            <a:lstStyle/>
            <a:p>
              <a:pPr algn="ctr"/>
              <a:endParaRPr lang="de-DE"/>
            </a:p>
          </p:txBody>
        </p:sp>
      </p:grpSp>
      <p:sp>
        <p:nvSpPr>
          <p:cNvPr id="416" name="Inhaltsplatzhalter 415">
            <a:extLst>
              <a:ext uri="{FF2B5EF4-FFF2-40B4-BE49-F238E27FC236}">
                <a16:creationId xmlns:a16="http://schemas.microsoft.com/office/drawing/2014/main" id="{97B2E588-38DC-3956-9831-A7B368CEAC1D}"/>
              </a:ext>
            </a:extLst>
          </p:cNvPr>
          <p:cNvSpPr>
            <a:spLocks noGrp="1"/>
          </p:cNvSpPr>
          <p:nvPr>
            <p:ph sz="quarter" idx="11"/>
          </p:nvPr>
        </p:nvSpPr>
        <p:spPr>
          <a:xfrm>
            <a:off x="339548" y="1701801"/>
            <a:ext cx="4275483" cy="4535489"/>
          </a:xfrm>
        </p:spPr>
        <p:txBody>
          <a:bodyPr/>
          <a:lstStyle/>
          <a:p>
            <a:r>
              <a:rPr kumimoji="0" lang="en-US" sz="1800" b="0" i="0" u="none" strike="noStrike" kern="1200" cap="none" spc="0" normalizeH="0" baseline="0" noProof="0" dirty="0">
                <a:ln>
                  <a:noFill/>
                </a:ln>
                <a:solidFill>
                  <a:prstClr val="black"/>
                </a:solidFill>
                <a:effectLst/>
                <a:uLnTx/>
                <a:uFillTx/>
                <a:latin typeface="Arial"/>
                <a:ea typeface="+mn-ea"/>
                <a:cs typeface="+mn-cs"/>
              </a:rPr>
              <a:t>6 geothermal plants in operation</a:t>
            </a:r>
          </a:p>
          <a:p>
            <a:r>
              <a:rPr kumimoji="0" lang="en-US" sz="1800" b="0" i="0" u="none" strike="noStrike" kern="1200" cap="none" spc="0" normalizeH="0" baseline="0" noProof="0" dirty="0">
                <a:ln>
                  <a:noFill/>
                </a:ln>
                <a:solidFill>
                  <a:prstClr val="black"/>
                </a:solidFill>
                <a:effectLst/>
                <a:uLnTx/>
                <a:uFillTx/>
                <a:latin typeface="Arial"/>
                <a:ea typeface="+mn-ea"/>
                <a:cs typeface="+mn-cs"/>
              </a:rPr>
              <a:t>1 geothermal plant under construction </a:t>
            </a:r>
          </a:p>
          <a:p>
            <a:r>
              <a:rPr kumimoji="0" lang="en-US" sz="1800" b="0" i="0" u="none" strike="noStrike" kern="1200" cap="none" spc="0" normalizeH="0" baseline="0" noProof="0" dirty="0">
                <a:ln>
                  <a:noFill/>
                </a:ln>
                <a:solidFill>
                  <a:prstClr val="black"/>
                </a:solidFill>
                <a:effectLst/>
                <a:uLnTx/>
                <a:uFillTx/>
                <a:latin typeface="Arial"/>
                <a:ea typeface="+mn-ea"/>
                <a:cs typeface="+mn-cs"/>
              </a:rPr>
              <a:t>Overall: 15 wells with 185 </a:t>
            </a:r>
            <a:r>
              <a:rPr kumimoji="0" lang="en-US" sz="1800" b="0" i="0" u="none" strike="noStrike" kern="1200" cap="none" spc="0" normalizeH="0" baseline="0" noProof="0" dirty="0" err="1">
                <a:ln>
                  <a:noFill/>
                </a:ln>
                <a:solidFill>
                  <a:prstClr val="black"/>
                </a:solidFill>
                <a:effectLst/>
                <a:uLnTx/>
                <a:uFillTx/>
                <a:latin typeface="Arial"/>
                <a:ea typeface="+mn-ea"/>
                <a:cs typeface="+mn-cs"/>
              </a:rPr>
              <a:t>MWth</a:t>
            </a:r>
            <a:endParaRPr lang="de-DE" dirty="0"/>
          </a:p>
        </p:txBody>
      </p:sp>
      <p:sp>
        <p:nvSpPr>
          <p:cNvPr id="4" name="Titel 3">
            <a:extLst>
              <a:ext uri="{FF2B5EF4-FFF2-40B4-BE49-F238E27FC236}">
                <a16:creationId xmlns:a16="http://schemas.microsoft.com/office/drawing/2014/main" id="{6EA64D46-5D96-1773-609C-CBD10A5C89EC}"/>
              </a:ext>
            </a:extLst>
          </p:cNvPr>
          <p:cNvSpPr>
            <a:spLocks noGrp="1"/>
          </p:cNvSpPr>
          <p:nvPr>
            <p:ph type="title"/>
          </p:nvPr>
        </p:nvSpPr>
        <p:spPr/>
        <p:txBody>
          <a:bodyPr/>
          <a:lstStyle/>
          <a:p>
            <a:r>
              <a:rPr lang="en-GB" sz="2400" dirty="0"/>
              <a:t>Current</a:t>
            </a:r>
            <a:r>
              <a:rPr lang="de-DE" sz="2400" dirty="0"/>
              <a:t> Geothermal plants</a:t>
            </a:r>
            <a:br>
              <a:rPr lang="de-DE" sz="2400" dirty="0"/>
            </a:br>
            <a:endParaRPr lang="de-DE" dirty="0"/>
          </a:p>
        </p:txBody>
      </p:sp>
      <p:sp>
        <p:nvSpPr>
          <p:cNvPr id="2" name="Foliennummernplatzhalter 1">
            <a:extLst>
              <a:ext uri="{FF2B5EF4-FFF2-40B4-BE49-F238E27FC236}">
                <a16:creationId xmlns:a16="http://schemas.microsoft.com/office/drawing/2014/main" id="{79451E76-C792-429D-B076-9E7A27FC6E02}"/>
              </a:ext>
            </a:extLst>
          </p:cNvPr>
          <p:cNvSpPr>
            <a:spLocks noGrp="1"/>
          </p:cNvSpPr>
          <p:nvPr>
            <p:ph type="sldNum" sz="quarter" idx="14"/>
          </p:nvPr>
        </p:nvSpPr>
        <p:spPr>
          <a:prstGeom prst="rect">
            <a:avLst/>
          </a:prstGeom>
          <a:noFill/>
        </p:spPr>
        <p:txBody>
          <a:bodyPr wrap="none" lIns="0" tIns="0" rIns="0" bIns="0" rtlCol="0">
            <a:noAutofit/>
          </a:bodyPr>
          <a:lstStyle>
            <a:defPPr>
              <a:defRPr lang="de-DE"/>
            </a:defPPr>
            <a:lvl1pPr marL="0" algn="l" defTabSz="913486" rtl="0" eaLnBrk="1" latinLnBrk="0" hangingPunct="1">
              <a:defRPr lang="de-DE" sz="999" kern="1200" smtClean="0">
                <a:solidFill>
                  <a:srgbClr val="738792"/>
                </a:solidFill>
                <a:latin typeface="Arial" pitchFamily="34" charset="0"/>
                <a:ea typeface="+mn-ea"/>
                <a:cs typeface="Arial" pitchFamily="34" charset="0"/>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a:lstStyle>
          <a:p>
            <a:fld id="{CAAC1DFF-D847-41A9-936B-84F626DB394F}" type="slidenum">
              <a:rPr lang="de-DE" smtClean="0"/>
              <a:pPr/>
              <a:t>4</a:t>
            </a:fld>
            <a:endParaRPr lang="de-DE"/>
          </a:p>
        </p:txBody>
      </p:sp>
      <p:sp>
        <p:nvSpPr>
          <p:cNvPr id="5" name="Textfeld 4">
            <a:extLst>
              <a:ext uri="{FF2B5EF4-FFF2-40B4-BE49-F238E27FC236}">
                <a16:creationId xmlns:a16="http://schemas.microsoft.com/office/drawing/2014/main" id="{AEB3F781-3CB5-3259-684F-49365C1717A2}"/>
              </a:ext>
            </a:extLst>
          </p:cNvPr>
          <p:cNvSpPr txBox="1"/>
          <p:nvPr/>
        </p:nvSpPr>
        <p:spPr>
          <a:xfrm>
            <a:off x="337963" y="3800807"/>
            <a:ext cx="7771358" cy="1538883"/>
          </a:xfrm>
          <a:prstGeom prst="rect">
            <a:avLst/>
          </a:prstGeom>
        </p:spPr>
        <p:txBody>
          <a:bodyPr vert="horz" wrap="square" lIns="0" tIns="0" rIns="0" bIns="0" rtlCol="0">
            <a:noAutofit/>
          </a:bodyPr>
          <a:lstStyle>
            <a:lvl1pPr marL="177711" indent="-177711" defTabSz="913943">
              <a:spcBef>
                <a:spcPts val="600"/>
              </a:spcBef>
              <a:buClr>
                <a:schemeClr val="tx2"/>
              </a:buClr>
              <a:buSzPct val="140000"/>
              <a:buFont typeface="Wingdings 3" pitchFamily="18" charset="2"/>
              <a:buChar char="ê"/>
              <a:defRPr sz="1799">
                <a:latin typeface="Arial" pitchFamily="34" charset="0"/>
                <a:cs typeface="Arial" pitchFamily="34" charset="0"/>
              </a:defRPr>
            </a:lvl1pPr>
            <a:lvl2pPr marL="361769" indent="-180885" defTabSz="913943">
              <a:spcBef>
                <a:spcPts val="600"/>
              </a:spcBef>
              <a:buClr>
                <a:schemeClr val="tx2"/>
              </a:buClr>
              <a:buSzPct val="140000"/>
              <a:buFont typeface="Wingdings 3" pitchFamily="18" charset="2"/>
              <a:buChar char="ê"/>
              <a:tabLst>
                <a:tab pos="361769" algn="l"/>
              </a:tabLst>
              <a:defRPr sz="1799">
                <a:latin typeface="Arial" pitchFamily="34" charset="0"/>
                <a:cs typeface="Arial" pitchFamily="34" charset="0"/>
              </a:defRPr>
            </a:lvl2pPr>
            <a:lvl3pPr marL="534721" indent="-172951" defTabSz="913943">
              <a:spcBef>
                <a:spcPts val="600"/>
              </a:spcBef>
              <a:buClr>
                <a:schemeClr val="tx2"/>
              </a:buClr>
              <a:buSzPct val="140000"/>
              <a:buFont typeface="Wingdings 3" pitchFamily="18" charset="2"/>
              <a:buChar char="ê"/>
              <a:defRPr sz="1799">
                <a:latin typeface="Arial" pitchFamily="34" charset="0"/>
                <a:cs typeface="Arial" pitchFamily="34" charset="0"/>
              </a:defRPr>
            </a:lvl3pPr>
            <a:lvl4pPr marL="715605" indent="-180885" defTabSz="913943">
              <a:spcBef>
                <a:spcPts val="600"/>
              </a:spcBef>
              <a:buClr>
                <a:schemeClr val="tx2"/>
              </a:buClr>
              <a:buSzPct val="140000"/>
              <a:buFont typeface="Wingdings 3" pitchFamily="18" charset="2"/>
              <a:buChar char="ê"/>
              <a:defRPr sz="1799">
                <a:latin typeface="Arial" pitchFamily="34" charset="0"/>
                <a:cs typeface="Arial" pitchFamily="34" charset="0"/>
              </a:defRPr>
            </a:lvl4pPr>
            <a:lvl5pPr marL="896490" indent="-180885" defTabSz="913943">
              <a:spcBef>
                <a:spcPts val="600"/>
              </a:spcBef>
              <a:buClr>
                <a:schemeClr val="tx2"/>
              </a:buClr>
              <a:buSzPct val="140000"/>
              <a:buFont typeface="Wingdings 3" pitchFamily="18" charset="2"/>
              <a:buChar char="ê"/>
              <a:defRPr sz="1799">
                <a:latin typeface="Arial" pitchFamily="34" charset="0"/>
                <a:cs typeface="Arial" pitchFamily="34" charset="0"/>
              </a:defRPr>
            </a:lvl5pPr>
            <a:lvl6pPr marL="2513343" indent="-228486" defTabSz="913943">
              <a:spcBef>
                <a:spcPct val="20000"/>
              </a:spcBef>
              <a:buFont typeface="Arial" pitchFamily="34" charset="0"/>
              <a:buChar char="•"/>
              <a:defRPr sz="1999"/>
            </a:lvl6pPr>
            <a:lvl7pPr marL="2970314" indent="-228486" defTabSz="913943">
              <a:spcBef>
                <a:spcPct val="20000"/>
              </a:spcBef>
              <a:buFont typeface="Arial" pitchFamily="34" charset="0"/>
              <a:buChar char="•"/>
              <a:defRPr sz="1999"/>
            </a:lvl7pPr>
            <a:lvl8pPr marL="3427286" indent="-228486" defTabSz="913943">
              <a:spcBef>
                <a:spcPct val="20000"/>
              </a:spcBef>
              <a:buFont typeface="Arial" pitchFamily="34" charset="0"/>
              <a:buChar char="•"/>
              <a:defRPr sz="1999"/>
            </a:lvl8pPr>
            <a:lvl9pPr marL="3884257" indent="-228486" defTabSz="913943">
              <a:spcBef>
                <a:spcPct val="20000"/>
              </a:spcBef>
              <a:buFont typeface="Arial" pitchFamily="34" charset="0"/>
              <a:buChar char="•"/>
              <a:defRPr sz="1999"/>
            </a:lvl9pPr>
          </a:lstStyle>
          <a:p>
            <a:endParaRPr lang="en-US"/>
          </a:p>
        </p:txBody>
      </p:sp>
      <p:sp>
        <p:nvSpPr>
          <p:cNvPr id="16" name="Rechteck 15">
            <a:extLst>
              <a:ext uri="{FF2B5EF4-FFF2-40B4-BE49-F238E27FC236}">
                <a16:creationId xmlns:a16="http://schemas.microsoft.com/office/drawing/2014/main" id="{A6A34401-37CE-94D7-F232-E7AFBFFF3791}"/>
              </a:ext>
            </a:extLst>
          </p:cNvPr>
          <p:cNvSpPr/>
          <p:nvPr/>
        </p:nvSpPr>
        <p:spPr>
          <a:xfrm>
            <a:off x="5305139" y="1759807"/>
            <a:ext cx="1481424" cy="311485"/>
          </a:xfrm>
          <a:prstGeom prst="rect">
            <a:avLst/>
          </a:prstGeom>
          <a:solidFill>
            <a:srgbClr val="EC6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b="1" dirty="0" err="1">
                <a:latin typeface="+mj-lt"/>
              </a:rPr>
              <a:t>Freiham</a:t>
            </a:r>
            <a:r>
              <a:rPr lang="en-US" sz="700" b="1" dirty="0">
                <a:latin typeface="+mj-lt"/>
              </a:rPr>
              <a:t> geothermal heat plant</a:t>
            </a:r>
          </a:p>
          <a:p>
            <a:r>
              <a:rPr lang="en-US" sz="700" dirty="0">
                <a:latin typeface="+mj-lt"/>
              </a:rPr>
              <a:t>in operation since 2016</a:t>
            </a:r>
          </a:p>
        </p:txBody>
      </p:sp>
      <p:sp>
        <p:nvSpPr>
          <p:cNvPr id="17" name="Rechteck 16">
            <a:extLst>
              <a:ext uri="{FF2B5EF4-FFF2-40B4-BE49-F238E27FC236}">
                <a16:creationId xmlns:a16="http://schemas.microsoft.com/office/drawing/2014/main" id="{71306880-9336-C9A5-C3C3-2275F40983BA}"/>
              </a:ext>
            </a:extLst>
          </p:cNvPr>
          <p:cNvSpPr/>
          <p:nvPr/>
        </p:nvSpPr>
        <p:spPr>
          <a:xfrm>
            <a:off x="5953820" y="2354584"/>
            <a:ext cx="1271492" cy="402785"/>
          </a:xfrm>
          <a:prstGeom prst="rect">
            <a:avLst/>
          </a:prstGeom>
          <a:solidFill>
            <a:srgbClr val="EC6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b="1" dirty="0" err="1">
                <a:latin typeface="+mj-lt"/>
              </a:rPr>
              <a:t>Energiestandort</a:t>
            </a:r>
            <a:r>
              <a:rPr lang="en-US" sz="700" b="1" dirty="0">
                <a:latin typeface="+mj-lt"/>
              </a:rPr>
              <a:t> Süd </a:t>
            </a:r>
            <a:br>
              <a:rPr lang="en-US" sz="700" b="1" dirty="0">
                <a:latin typeface="+mj-lt"/>
              </a:rPr>
            </a:br>
            <a:r>
              <a:rPr lang="en-US" sz="700" b="1" dirty="0">
                <a:latin typeface="+mj-lt"/>
              </a:rPr>
              <a:t>geothermal heat plant</a:t>
            </a:r>
          </a:p>
          <a:p>
            <a:r>
              <a:rPr lang="en-US" sz="700" dirty="0">
                <a:latin typeface="+mj-lt"/>
              </a:rPr>
              <a:t>in operation since 2021</a:t>
            </a:r>
          </a:p>
        </p:txBody>
      </p:sp>
      <p:sp>
        <p:nvSpPr>
          <p:cNvPr id="21" name="Rechteck 20">
            <a:extLst>
              <a:ext uri="{FF2B5EF4-FFF2-40B4-BE49-F238E27FC236}">
                <a16:creationId xmlns:a16="http://schemas.microsoft.com/office/drawing/2014/main" id="{D3574F5A-AD7F-3B3B-F33A-04980EB1538D}"/>
              </a:ext>
            </a:extLst>
          </p:cNvPr>
          <p:cNvSpPr/>
          <p:nvPr/>
        </p:nvSpPr>
        <p:spPr>
          <a:xfrm>
            <a:off x="9169142" y="1828132"/>
            <a:ext cx="1353008" cy="338172"/>
          </a:xfrm>
          <a:prstGeom prst="rect">
            <a:avLst/>
          </a:prstGeom>
          <a:solidFill>
            <a:srgbClr val="EC6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b="1" dirty="0">
                <a:latin typeface="+mj-lt"/>
              </a:rPr>
              <a:t>Riem geothermal heat plant</a:t>
            </a:r>
          </a:p>
          <a:p>
            <a:r>
              <a:rPr lang="en-US" sz="700" dirty="0">
                <a:latin typeface="+mj-lt"/>
              </a:rPr>
              <a:t>in operation since 2004</a:t>
            </a:r>
          </a:p>
        </p:txBody>
      </p:sp>
      <p:sp>
        <p:nvSpPr>
          <p:cNvPr id="22" name="Rechteck 21">
            <a:extLst>
              <a:ext uri="{FF2B5EF4-FFF2-40B4-BE49-F238E27FC236}">
                <a16:creationId xmlns:a16="http://schemas.microsoft.com/office/drawing/2014/main" id="{76A3004A-DC0D-DB18-C244-7B07F28F75B2}"/>
              </a:ext>
            </a:extLst>
          </p:cNvPr>
          <p:cNvSpPr/>
          <p:nvPr/>
        </p:nvSpPr>
        <p:spPr>
          <a:xfrm>
            <a:off x="8490718" y="2983454"/>
            <a:ext cx="1469257" cy="307762"/>
          </a:xfrm>
          <a:prstGeom prst="rect">
            <a:avLst/>
          </a:prstGeom>
          <a:solidFill>
            <a:srgbClr val="EC6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b="1" dirty="0" err="1">
                <a:latin typeface="+mj-lt"/>
              </a:rPr>
              <a:t>Michaelibad</a:t>
            </a:r>
            <a:r>
              <a:rPr lang="en-US" sz="700" b="1" dirty="0">
                <a:latin typeface="+mj-lt"/>
              </a:rPr>
              <a:t> geothermal plant</a:t>
            </a:r>
          </a:p>
          <a:p>
            <a:r>
              <a:rPr lang="en-US" sz="700" dirty="0">
                <a:latin typeface="+mj-lt"/>
              </a:rPr>
              <a:t>Under construction</a:t>
            </a:r>
          </a:p>
        </p:txBody>
      </p:sp>
      <p:sp>
        <p:nvSpPr>
          <p:cNvPr id="23" name="Rechteck 22">
            <a:extLst>
              <a:ext uri="{FF2B5EF4-FFF2-40B4-BE49-F238E27FC236}">
                <a16:creationId xmlns:a16="http://schemas.microsoft.com/office/drawing/2014/main" id="{0B5F2F15-A28E-BCBE-DAE7-126F396C40D3}"/>
              </a:ext>
            </a:extLst>
          </p:cNvPr>
          <p:cNvSpPr/>
          <p:nvPr/>
        </p:nvSpPr>
        <p:spPr>
          <a:xfrm>
            <a:off x="8943616" y="3871053"/>
            <a:ext cx="1782759" cy="519456"/>
          </a:xfrm>
          <a:prstGeom prst="rect">
            <a:avLst/>
          </a:prstGeom>
          <a:solidFill>
            <a:srgbClr val="EC6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b="1" dirty="0" err="1">
                <a:latin typeface="+mj-lt"/>
              </a:rPr>
              <a:t>Kirchstockach</a:t>
            </a:r>
            <a:r>
              <a:rPr lang="en-US" sz="700" b="1" dirty="0">
                <a:latin typeface="+mj-lt"/>
              </a:rPr>
              <a:t> geothermal CHP plant</a:t>
            </a:r>
          </a:p>
          <a:p>
            <a:r>
              <a:rPr lang="en-US" sz="700" dirty="0">
                <a:latin typeface="+mj-lt"/>
              </a:rPr>
              <a:t>In operation producing electricity since 2013, heat since 2021</a:t>
            </a:r>
          </a:p>
        </p:txBody>
      </p:sp>
      <p:sp>
        <p:nvSpPr>
          <p:cNvPr id="25" name="Rechteck 24">
            <a:extLst>
              <a:ext uri="{FF2B5EF4-FFF2-40B4-BE49-F238E27FC236}">
                <a16:creationId xmlns:a16="http://schemas.microsoft.com/office/drawing/2014/main" id="{D8EAEC0D-C10E-045D-734F-5017ECECE84F}"/>
              </a:ext>
            </a:extLst>
          </p:cNvPr>
          <p:cNvSpPr/>
          <p:nvPr/>
        </p:nvSpPr>
        <p:spPr>
          <a:xfrm>
            <a:off x="8114991" y="4867529"/>
            <a:ext cx="1642235" cy="299396"/>
          </a:xfrm>
          <a:prstGeom prst="rect">
            <a:avLst/>
          </a:prstGeom>
          <a:solidFill>
            <a:srgbClr val="EC6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b="1" dirty="0" err="1">
                <a:latin typeface="+mj-lt"/>
              </a:rPr>
              <a:t>Dürrnhaar</a:t>
            </a:r>
            <a:r>
              <a:rPr lang="en-US" sz="700" b="1" dirty="0">
                <a:latin typeface="+mj-lt"/>
              </a:rPr>
              <a:t> geothermal power plant</a:t>
            </a:r>
          </a:p>
          <a:p>
            <a:r>
              <a:rPr lang="en-US" sz="700" dirty="0">
                <a:latin typeface="+mj-lt"/>
              </a:rPr>
              <a:t>In operation since 2012</a:t>
            </a:r>
          </a:p>
        </p:txBody>
      </p:sp>
      <p:sp>
        <p:nvSpPr>
          <p:cNvPr id="26" name="Rechteck 25">
            <a:extLst>
              <a:ext uri="{FF2B5EF4-FFF2-40B4-BE49-F238E27FC236}">
                <a16:creationId xmlns:a16="http://schemas.microsoft.com/office/drawing/2014/main" id="{0F23DE37-8EE8-6903-3001-7EA7FB451974}"/>
              </a:ext>
            </a:extLst>
          </p:cNvPr>
          <p:cNvSpPr/>
          <p:nvPr/>
        </p:nvSpPr>
        <p:spPr>
          <a:xfrm>
            <a:off x="7556560" y="5776162"/>
            <a:ext cx="1359882" cy="406848"/>
          </a:xfrm>
          <a:prstGeom prst="rect">
            <a:avLst/>
          </a:prstGeom>
          <a:solidFill>
            <a:srgbClr val="EC660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700" b="1" dirty="0" err="1">
                <a:latin typeface="+mj-lt"/>
              </a:rPr>
              <a:t>Sauerlach</a:t>
            </a:r>
            <a:r>
              <a:rPr lang="en-US" sz="700" b="1" dirty="0">
                <a:latin typeface="+mj-lt"/>
              </a:rPr>
              <a:t> geothermal CHP plant</a:t>
            </a:r>
          </a:p>
          <a:p>
            <a:r>
              <a:rPr lang="en-US" sz="700" dirty="0">
                <a:latin typeface="+mj-lt"/>
              </a:rPr>
              <a:t>In operation since 2013</a:t>
            </a:r>
          </a:p>
        </p:txBody>
      </p:sp>
      <p:sp>
        <p:nvSpPr>
          <p:cNvPr id="3" name="Datumsplatzhalter 2">
            <a:extLst>
              <a:ext uri="{FF2B5EF4-FFF2-40B4-BE49-F238E27FC236}">
                <a16:creationId xmlns:a16="http://schemas.microsoft.com/office/drawing/2014/main" id="{2BCCB38A-D89D-3C4B-04D6-88F16D66547F}"/>
              </a:ext>
            </a:extLst>
          </p:cNvPr>
          <p:cNvSpPr txBox="1">
            <a:spLocks/>
          </p:cNvSpPr>
          <p:nvPr/>
        </p:nvSpPr>
        <p:spPr>
          <a:xfrm>
            <a:off x="865874" y="6456200"/>
            <a:ext cx="2264239" cy="14203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999">
                <a:solidFill>
                  <a:srgbClr val="738792"/>
                </a:solidFill>
                <a:latin typeface="Arial" pitchFamily="34" charset="0"/>
                <a:cs typeface="Arial" pitchFamily="34" charset="0"/>
              </a:rPr>
              <a:t>21.03.25 / Stadtwerke München</a:t>
            </a:r>
          </a:p>
        </p:txBody>
      </p:sp>
      <p:sp>
        <p:nvSpPr>
          <p:cNvPr id="6" name="Textplatzhalter 5">
            <a:extLst>
              <a:ext uri="{FF2B5EF4-FFF2-40B4-BE49-F238E27FC236}">
                <a16:creationId xmlns:a16="http://schemas.microsoft.com/office/drawing/2014/main" id="{FC6F27A1-836F-4BE3-CF07-3EE66AD62AAA}"/>
              </a:ext>
            </a:extLst>
          </p:cNvPr>
          <p:cNvSpPr>
            <a:spLocks noGrp="1"/>
          </p:cNvSpPr>
          <p:nvPr>
            <p:ph type="body" sz="quarter" idx="10"/>
          </p:nvPr>
        </p:nvSpPr>
        <p:spPr/>
        <p:txBody>
          <a:bodyPr/>
          <a:lstStyle/>
          <a:p>
            <a:r>
              <a:rPr lang="en-US" dirty="0"/>
              <a:t> Expansion of thermal utilization of geothermal energy in Munich </a:t>
            </a:r>
          </a:p>
        </p:txBody>
      </p:sp>
      <p:grpSp>
        <p:nvGrpSpPr>
          <p:cNvPr id="424" name="Gruppieren 423">
            <a:extLst>
              <a:ext uri="{FF2B5EF4-FFF2-40B4-BE49-F238E27FC236}">
                <a16:creationId xmlns:a16="http://schemas.microsoft.com/office/drawing/2014/main" id="{C877127A-C0D3-2AC8-5A60-8F89E9A1EB93}"/>
              </a:ext>
            </a:extLst>
          </p:cNvPr>
          <p:cNvGrpSpPr/>
          <p:nvPr/>
        </p:nvGrpSpPr>
        <p:grpSpPr>
          <a:xfrm>
            <a:off x="4351731" y="3982930"/>
            <a:ext cx="2944007" cy="2641247"/>
            <a:chOff x="4836453" y="4168140"/>
            <a:chExt cx="2944007" cy="2641247"/>
          </a:xfrm>
        </p:grpSpPr>
        <p:grpSp>
          <p:nvGrpSpPr>
            <p:cNvPr id="422" name="Gruppieren 421">
              <a:extLst>
                <a:ext uri="{FF2B5EF4-FFF2-40B4-BE49-F238E27FC236}">
                  <a16:creationId xmlns:a16="http://schemas.microsoft.com/office/drawing/2014/main" id="{A815903C-6A4B-3363-BC53-E64A226847BC}"/>
                </a:ext>
              </a:extLst>
            </p:cNvPr>
            <p:cNvGrpSpPr/>
            <p:nvPr/>
          </p:nvGrpSpPr>
          <p:grpSpPr>
            <a:xfrm>
              <a:off x="4836453" y="5157398"/>
              <a:ext cx="2944007" cy="1651989"/>
              <a:chOff x="4261656" y="3974846"/>
              <a:chExt cx="2944007" cy="1651989"/>
            </a:xfrm>
          </p:grpSpPr>
          <p:pic>
            <p:nvPicPr>
              <p:cNvPr id="18" name="Grafik 17" descr="Ein Bild, das Text, Karte, Diagramm, Atlas enthält.&#10;&#10;Automatisch generierte Beschreibung">
                <a:extLst>
                  <a:ext uri="{FF2B5EF4-FFF2-40B4-BE49-F238E27FC236}">
                    <a16:creationId xmlns:a16="http://schemas.microsoft.com/office/drawing/2014/main" id="{83D12D2D-E708-EFD1-D02D-31AB4418D1D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l="-954" t="-352" r="954" b="23791"/>
              <a:stretch/>
            </p:blipFill>
            <p:spPr>
              <a:xfrm>
                <a:off x="4261656" y="3974846"/>
                <a:ext cx="2361854" cy="1651989"/>
              </a:xfrm>
              <a:prstGeom prst="rect">
                <a:avLst/>
              </a:prstGeom>
            </p:spPr>
          </p:pic>
          <p:grpSp>
            <p:nvGrpSpPr>
              <p:cNvPr id="420" name="Gruppieren 419">
                <a:extLst>
                  <a:ext uri="{FF2B5EF4-FFF2-40B4-BE49-F238E27FC236}">
                    <a16:creationId xmlns:a16="http://schemas.microsoft.com/office/drawing/2014/main" id="{BEB8E55B-24FB-02B7-F074-E24A3EE65CB1}"/>
                  </a:ext>
                </a:extLst>
              </p:cNvPr>
              <p:cNvGrpSpPr/>
              <p:nvPr/>
            </p:nvGrpSpPr>
            <p:grpSpPr>
              <a:xfrm>
                <a:off x="4624834" y="4158532"/>
                <a:ext cx="2580829" cy="1102872"/>
                <a:chOff x="2840035" y="2847075"/>
                <a:chExt cx="2580829" cy="1102872"/>
              </a:xfrm>
            </p:grpSpPr>
            <p:sp>
              <p:nvSpPr>
                <p:cNvPr id="8" name="Rechteck 7">
                  <a:extLst>
                    <a:ext uri="{FF2B5EF4-FFF2-40B4-BE49-F238E27FC236}">
                      <a16:creationId xmlns:a16="http://schemas.microsoft.com/office/drawing/2014/main" id="{AAF63E2F-B66F-BA6F-9574-2C15DC2E4DF0}"/>
                    </a:ext>
                  </a:extLst>
                </p:cNvPr>
                <p:cNvSpPr/>
                <p:nvPr/>
              </p:nvSpPr>
              <p:spPr>
                <a:xfrm>
                  <a:off x="2840035" y="2847075"/>
                  <a:ext cx="1732109" cy="21408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a:solidFill>
                        <a:schemeClr val="tx1"/>
                      </a:solidFill>
                      <a:latin typeface="+mj-lt"/>
                    </a:rPr>
                    <a:t>Heat </a:t>
                  </a:r>
                  <a:r>
                    <a:rPr lang="de-DE" sz="1200" dirty="0" err="1">
                      <a:solidFill>
                        <a:schemeClr val="tx1"/>
                      </a:solidFill>
                      <a:latin typeface="+mj-lt"/>
                    </a:rPr>
                    <a:t>generation</a:t>
                  </a:r>
                  <a:endParaRPr lang="de-DE" sz="1200" dirty="0">
                    <a:solidFill>
                      <a:schemeClr val="tx1"/>
                    </a:solidFill>
                    <a:latin typeface="+mj-lt"/>
                  </a:endParaRPr>
                </a:p>
              </p:txBody>
            </p:sp>
            <p:sp>
              <p:nvSpPr>
                <p:cNvPr id="9" name="Rechteck 8">
                  <a:extLst>
                    <a:ext uri="{FF2B5EF4-FFF2-40B4-BE49-F238E27FC236}">
                      <a16:creationId xmlns:a16="http://schemas.microsoft.com/office/drawing/2014/main" id="{0C97BBF8-5A74-3D0E-CFD3-15E7126180BE}"/>
                    </a:ext>
                  </a:extLst>
                </p:cNvPr>
                <p:cNvSpPr/>
                <p:nvPr/>
              </p:nvSpPr>
              <p:spPr>
                <a:xfrm>
                  <a:off x="2840035" y="3173976"/>
                  <a:ext cx="1652556" cy="17558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err="1">
                      <a:solidFill>
                        <a:schemeClr val="tx1"/>
                      </a:solidFill>
                      <a:latin typeface="+mj-lt"/>
                    </a:rPr>
                    <a:t>Electricity</a:t>
                  </a:r>
                  <a:r>
                    <a:rPr lang="de-DE" sz="1200" dirty="0">
                      <a:solidFill>
                        <a:schemeClr val="tx1"/>
                      </a:solidFill>
                      <a:latin typeface="+mj-lt"/>
                    </a:rPr>
                    <a:t> </a:t>
                  </a:r>
                  <a:r>
                    <a:rPr lang="de-DE" sz="1200" dirty="0" err="1">
                      <a:solidFill>
                        <a:schemeClr val="tx1"/>
                      </a:solidFill>
                      <a:latin typeface="+mj-lt"/>
                    </a:rPr>
                    <a:t>generation</a:t>
                  </a:r>
                  <a:endParaRPr lang="de-DE" sz="1200" dirty="0">
                    <a:solidFill>
                      <a:schemeClr val="tx1"/>
                    </a:solidFill>
                    <a:latin typeface="+mj-lt"/>
                  </a:endParaRPr>
                </a:p>
              </p:txBody>
            </p:sp>
            <p:sp>
              <p:nvSpPr>
                <p:cNvPr id="10" name="Rechteck 9">
                  <a:extLst>
                    <a:ext uri="{FF2B5EF4-FFF2-40B4-BE49-F238E27FC236}">
                      <a16:creationId xmlns:a16="http://schemas.microsoft.com/office/drawing/2014/main" id="{F819B32C-CFAF-58FE-A228-FF1749BE9EFA}"/>
                    </a:ext>
                  </a:extLst>
                </p:cNvPr>
                <p:cNvSpPr/>
                <p:nvPr/>
              </p:nvSpPr>
              <p:spPr>
                <a:xfrm>
                  <a:off x="2840035" y="3462374"/>
                  <a:ext cx="2356929" cy="198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err="1">
                      <a:solidFill>
                        <a:schemeClr val="tx1"/>
                      </a:solidFill>
                      <a:latin typeface="+mj-lt"/>
                    </a:rPr>
                    <a:t>District</a:t>
                  </a:r>
                  <a:r>
                    <a:rPr lang="de-DE" sz="1200" dirty="0">
                      <a:solidFill>
                        <a:schemeClr val="tx1"/>
                      </a:solidFill>
                      <a:latin typeface="+mj-lt"/>
                    </a:rPr>
                    <a:t> </a:t>
                  </a:r>
                  <a:r>
                    <a:rPr lang="de-DE" sz="1200" dirty="0" err="1">
                      <a:solidFill>
                        <a:schemeClr val="tx1"/>
                      </a:solidFill>
                      <a:latin typeface="+mj-lt"/>
                    </a:rPr>
                    <a:t>heating</a:t>
                  </a:r>
                  <a:r>
                    <a:rPr lang="de-DE" sz="1200" dirty="0">
                      <a:solidFill>
                        <a:schemeClr val="tx1"/>
                      </a:solidFill>
                      <a:latin typeface="+mj-lt"/>
                    </a:rPr>
                    <a:t> network - </a:t>
                  </a:r>
                  <a:r>
                    <a:rPr lang="de-DE" sz="1200" dirty="0" err="1">
                      <a:solidFill>
                        <a:schemeClr val="tx1"/>
                      </a:solidFill>
                      <a:latin typeface="+mj-lt"/>
                    </a:rPr>
                    <a:t>steam</a:t>
                  </a:r>
                  <a:endParaRPr lang="de-DE" sz="1200" dirty="0">
                    <a:solidFill>
                      <a:schemeClr val="tx1"/>
                    </a:solidFill>
                    <a:latin typeface="+mj-lt"/>
                  </a:endParaRPr>
                </a:p>
              </p:txBody>
            </p:sp>
            <p:sp>
              <p:nvSpPr>
                <p:cNvPr id="11" name="Rechteck 10">
                  <a:extLst>
                    <a:ext uri="{FF2B5EF4-FFF2-40B4-BE49-F238E27FC236}">
                      <a16:creationId xmlns:a16="http://schemas.microsoft.com/office/drawing/2014/main" id="{7C092778-0518-F3CF-F963-0780D77CD42B}"/>
                    </a:ext>
                  </a:extLst>
                </p:cNvPr>
                <p:cNvSpPr/>
                <p:nvPr/>
              </p:nvSpPr>
              <p:spPr>
                <a:xfrm>
                  <a:off x="2840035" y="3773554"/>
                  <a:ext cx="2580829" cy="17639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err="1">
                      <a:solidFill>
                        <a:schemeClr val="tx1"/>
                      </a:solidFill>
                      <a:latin typeface="+mj-lt"/>
                    </a:rPr>
                    <a:t>District</a:t>
                  </a:r>
                  <a:r>
                    <a:rPr lang="de-DE" sz="1200" dirty="0">
                      <a:solidFill>
                        <a:schemeClr val="tx1"/>
                      </a:solidFill>
                      <a:latin typeface="+mj-lt"/>
                    </a:rPr>
                    <a:t> </a:t>
                  </a:r>
                  <a:r>
                    <a:rPr lang="de-DE" sz="1200" dirty="0" err="1">
                      <a:solidFill>
                        <a:schemeClr val="tx1"/>
                      </a:solidFill>
                      <a:latin typeface="+mj-lt"/>
                    </a:rPr>
                    <a:t>heating</a:t>
                  </a:r>
                  <a:r>
                    <a:rPr lang="de-DE" sz="1200" dirty="0">
                      <a:solidFill>
                        <a:schemeClr val="tx1"/>
                      </a:solidFill>
                      <a:latin typeface="+mj-lt"/>
                    </a:rPr>
                    <a:t> network – </a:t>
                  </a:r>
                  <a:r>
                    <a:rPr lang="de-DE" sz="1200" dirty="0" err="1">
                      <a:solidFill>
                        <a:schemeClr val="tx1"/>
                      </a:solidFill>
                      <a:latin typeface="+mj-lt"/>
                    </a:rPr>
                    <a:t>hot</a:t>
                  </a:r>
                  <a:r>
                    <a:rPr lang="de-DE" sz="1200" dirty="0">
                      <a:solidFill>
                        <a:schemeClr val="tx1"/>
                      </a:solidFill>
                      <a:latin typeface="+mj-lt"/>
                    </a:rPr>
                    <a:t> </a:t>
                  </a:r>
                  <a:r>
                    <a:rPr lang="de-DE" sz="1200" dirty="0" err="1">
                      <a:solidFill>
                        <a:schemeClr val="tx1"/>
                      </a:solidFill>
                      <a:latin typeface="+mj-lt"/>
                    </a:rPr>
                    <a:t>water</a:t>
                  </a:r>
                  <a:endParaRPr lang="de-DE" sz="1200" dirty="0">
                    <a:solidFill>
                      <a:schemeClr val="tx1"/>
                    </a:solidFill>
                    <a:latin typeface="+mj-lt"/>
                  </a:endParaRPr>
                </a:p>
              </p:txBody>
            </p:sp>
          </p:grpSp>
        </p:grpSp>
        <p:sp>
          <p:nvSpPr>
            <p:cNvPr id="423" name="Rechteck 422">
              <a:extLst>
                <a:ext uri="{FF2B5EF4-FFF2-40B4-BE49-F238E27FC236}">
                  <a16:creationId xmlns:a16="http://schemas.microsoft.com/office/drawing/2014/main" id="{E19CAF5F-6B82-00F5-F52C-A6EC3304100B}"/>
                </a:ext>
              </a:extLst>
            </p:cNvPr>
            <p:cNvSpPr/>
            <p:nvPr/>
          </p:nvSpPr>
          <p:spPr>
            <a:xfrm>
              <a:off x="4930140" y="4168140"/>
              <a:ext cx="1508760" cy="11466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err="1">
                <a:solidFill>
                  <a:schemeClr val="tx1"/>
                </a:solidFill>
              </a:endParaRPr>
            </a:p>
          </p:txBody>
        </p:sp>
      </p:grpSp>
    </p:spTree>
    <p:extLst>
      <p:ext uri="{BB962C8B-B14F-4D97-AF65-F5344CB8AC3E}">
        <p14:creationId xmlns:p14="http://schemas.microsoft.com/office/powerpoint/2010/main" val="12915359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9C35E42-5237-4A6E-C566-C74DDD88CD44}"/>
              </a:ext>
            </a:extLst>
          </p:cNvPr>
          <p:cNvSpPr>
            <a:spLocks noGrp="1"/>
          </p:cNvSpPr>
          <p:nvPr>
            <p:ph type="body" sz="quarter" idx="10"/>
          </p:nvPr>
        </p:nvSpPr>
        <p:spPr/>
        <p:txBody>
          <a:bodyPr/>
          <a:lstStyle/>
          <a:p>
            <a:endParaRPr lang="de-DE"/>
          </a:p>
        </p:txBody>
      </p:sp>
      <p:sp>
        <p:nvSpPr>
          <p:cNvPr id="4" name="Titel 3">
            <a:extLst>
              <a:ext uri="{FF2B5EF4-FFF2-40B4-BE49-F238E27FC236}">
                <a16:creationId xmlns:a16="http://schemas.microsoft.com/office/drawing/2014/main" id="{D4A15D7B-5DA9-BFA9-280B-2271369A47C8}"/>
              </a:ext>
            </a:extLst>
          </p:cNvPr>
          <p:cNvSpPr>
            <a:spLocks noGrp="1"/>
          </p:cNvSpPr>
          <p:nvPr>
            <p:ph type="title"/>
          </p:nvPr>
        </p:nvSpPr>
        <p:spPr/>
        <p:txBody>
          <a:bodyPr/>
          <a:lstStyle/>
          <a:p>
            <a:r>
              <a:rPr lang="de-DE" dirty="0"/>
              <a:t>Geothermal power plants</a:t>
            </a:r>
          </a:p>
        </p:txBody>
      </p:sp>
      <p:pic>
        <p:nvPicPr>
          <p:cNvPr id="7" name="Grafik 6">
            <a:extLst>
              <a:ext uri="{FF2B5EF4-FFF2-40B4-BE49-F238E27FC236}">
                <a16:creationId xmlns:a16="http://schemas.microsoft.com/office/drawing/2014/main" id="{70561C5A-8037-4BAD-60BA-959869DF221F}"/>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339549" y="1706744"/>
            <a:ext cx="2718849" cy="1699398"/>
          </a:xfrm>
          <a:prstGeom prst="rect">
            <a:avLst/>
          </a:prstGeom>
        </p:spPr>
      </p:pic>
      <p:pic>
        <p:nvPicPr>
          <p:cNvPr id="8" name="Grafik 7">
            <a:extLst>
              <a:ext uri="{FF2B5EF4-FFF2-40B4-BE49-F238E27FC236}">
                <a16:creationId xmlns:a16="http://schemas.microsoft.com/office/drawing/2014/main" id="{E59522B0-7F3D-A413-9858-B2EA25F6579D}"/>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6200040" y="1722757"/>
            <a:ext cx="2718849" cy="1699398"/>
          </a:xfrm>
          <a:prstGeom prst="rect">
            <a:avLst/>
          </a:prstGeom>
        </p:spPr>
      </p:pic>
      <p:pic>
        <p:nvPicPr>
          <p:cNvPr id="9" name="Grafik 8">
            <a:extLst>
              <a:ext uri="{FF2B5EF4-FFF2-40B4-BE49-F238E27FC236}">
                <a16:creationId xmlns:a16="http://schemas.microsoft.com/office/drawing/2014/main" id="{165F1891-E451-0D86-C0C0-052001AD26C9}"/>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3264392" y="1722757"/>
            <a:ext cx="2718849" cy="1699398"/>
          </a:xfrm>
          <a:prstGeom prst="rect">
            <a:avLst/>
          </a:prstGeom>
        </p:spPr>
      </p:pic>
      <p:grpSp>
        <p:nvGrpSpPr>
          <p:cNvPr id="10" name="Gruppieren 9">
            <a:extLst>
              <a:ext uri="{FF2B5EF4-FFF2-40B4-BE49-F238E27FC236}">
                <a16:creationId xmlns:a16="http://schemas.microsoft.com/office/drawing/2014/main" id="{4D2F54D7-3175-6DA1-F1C5-CE6B44E397BC}"/>
              </a:ext>
            </a:extLst>
          </p:cNvPr>
          <p:cNvGrpSpPr/>
          <p:nvPr/>
        </p:nvGrpSpPr>
        <p:grpSpPr>
          <a:xfrm>
            <a:off x="6200040" y="3961252"/>
            <a:ext cx="2718849" cy="2140992"/>
            <a:chOff x="9144996" y="1721868"/>
            <a:chExt cx="2720265" cy="2142107"/>
          </a:xfrm>
        </p:grpSpPr>
        <p:pic>
          <p:nvPicPr>
            <p:cNvPr id="11" name="Grafik 10">
              <a:extLst>
                <a:ext uri="{FF2B5EF4-FFF2-40B4-BE49-F238E27FC236}">
                  <a16:creationId xmlns:a16="http://schemas.microsoft.com/office/drawing/2014/main" id="{E0CDD4FE-89DC-F492-C8D9-FEF0D6188700}"/>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144996" y="1721868"/>
              <a:ext cx="2720265" cy="1700283"/>
            </a:xfrm>
            <a:prstGeom prst="rect">
              <a:avLst/>
            </a:prstGeom>
          </p:spPr>
        </p:pic>
        <p:sp>
          <p:nvSpPr>
            <p:cNvPr id="12" name="Textfeld 11">
              <a:extLst>
                <a:ext uri="{FF2B5EF4-FFF2-40B4-BE49-F238E27FC236}">
                  <a16:creationId xmlns:a16="http://schemas.microsoft.com/office/drawing/2014/main" id="{2E42BFDF-25F9-B5D5-A663-E7B58D13A116}"/>
                </a:ext>
              </a:extLst>
            </p:cNvPr>
            <p:cNvSpPr txBox="1"/>
            <p:nvPr/>
          </p:nvSpPr>
          <p:spPr>
            <a:xfrm>
              <a:off x="9151632" y="3494451"/>
              <a:ext cx="2713629" cy="369524"/>
            </a:xfrm>
            <a:prstGeom prst="rect">
              <a:avLst/>
            </a:prstGeom>
            <a:noFill/>
          </p:spPr>
          <p:txBody>
            <a:bodyPr wrap="square" lIns="0" tIns="0" rIns="0" bIns="0" rtlCol="0">
              <a:spAutoFit/>
            </a:bodyPr>
            <a:lstStyle/>
            <a:p>
              <a:r>
                <a:rPr lang="en-US" sz="1200" b="1" dirty="0">
                  <a:latin typeface="+mj-lt"/>
                </a:rPr>
                <a:t>Riem geothermal heat plant</a:t>
              </a:r>
            </a:p>
            <a:p>
              <a:r>
                <a:rPr lang="en-US" sz="1200" dirty="0">
                  <a:latin typeface="+mj-lt"/>
                </a:rPr>
                <a:t>in operation since 2004</a:t>
              </a:r>
            </a:p>
          </p:txBody>
        </p:sp>
        <p:grpSp>
          <p:nvGrpSpPr>
            <p:cNvPr id="13" name="Gruppieren 12">
              <a:extLst>
                <a:ext uri="{FF2B5EF4-FFF2-40B4-BE49-F238E27FC236}">
                  <a16:creationId xmlns:a16="http://schemas.microsoft.com/office/drawing/2014/main" id="{FB827DC5-67BE-2B6E-2312-F845D3698C66}"/>
                </a:ext>
              </a:extLst>
            </p:cNvPr>
            <p:cNvGrpSpPr/>
            <p:nvPr/>
          </p:nvGrpSpPr>
          <p:grpSpPr>
            <a:xfrm>
              <a:off x="9184083" y="1721868"/>
              <a:ext cx="230592" cy="230592"/>
              <a:chOff x="419182" y="1715868"/>
              <a:chExt cx="230592" cy="230592"/>
            </a:xfrm>
          </p:grpSpPr>
          <p:sp>
            <p:nvSpPr>
              <p:cNvPr id="14" name="Rechteck 13">
                <a:extLst>
                  <a:ext uri="{FF2B5EF4-FFF2-40B4-BE49-F238E27FC236}">
                    <a16:creationId xmlns:a16="http://schemas.microsoft.com/office/drawing/2014/main" id="{36B10D36-075A-D408-C385-7F951D085CFB}"/>
                  </a:ext>
                </a:extLst>
              </p:cNvPr>
              <p:cNvSpPr/>
              <p:nvPr/>
            </p:nvSpPr>
            <p:spPr>
              <a:xfrm>
                <a:off x="419182" y="1715868"/>
                <a:ext cx="230592" cy="23059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15" name="Grafik 14">
                <a:extLst>
                  <a:ext uri="{FF2B5EF4-FFF2-40B4-BE49-F238E27FC236}">
                    <a16:creationId xmlns:a16="http://schemas.microsoft.com/office/drawing/2014/main" id="{B0FBBB1C-73BF-550B-5203-F316A1334D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1140" y="1754057"/>
                <a:ext cx="126676" cy="154214"/>
              </a:xfrm>
              <a:prstGeom prst="rect">
                <a:avLst/>
              </a:prstGeom>
              <a:effectLst/>
            </p:spPr>
          </p:pic>
        </p:grpSp>
      </p:grpSp>
      <p:grpSp>
        <p:nvGrpSpPr>
          <p:cNvPr id="16" name="Gruppieren 15">
            <a:extLst>
              <a:ext uri="{FF2B5EF4-FFF2-40B4-BE49-F238E27FC236}">
                <a16:creationId xmlns:a16="http://schemas.microsoft.com/office/drawing/2014/main" id="{0CD4FBCB-ADDD-2082-8EE1-28B5460C2398}"/>
              </a:ext>
            </a:extLst>
          </p:cNvPr>
          <p:cNvGrpSpPr/>
          <p:nvPr/>
        </p:nvGrpSpPr>
        <p:grpSpPr>
          <a:xfrm>
            <a:off x="9130288" y="1716790"/>
            <a:ext cx="2722164" cy="2337036"/>
            <a:chOff x="339725" y="3966997"/>
            <a:chExt cx="2723582" cy="2338253"/>
          </a:xfrm>
        </p:grpSpPr>
        <p:pic>
          <p:nvPicPr>
            <p:cNvPr id="17" name="Grafik 16">
              <a:extLst>
                <a:ext uri="{FF2B5EF4-FFF2-40B4-BE49-F238E27FC236}">
                  <a16:creationId xmlns:a16="http://schemas.microsoft.com/office/drawing/2014/main" id="{70519A69-2C9A-F714-DD88-31544C172B8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343042" y="3966997"/>
              <a:ext cx="2720265" cy="1700283"/>
            </a:xfrm>
            <a:prstGeom prst="rect">
              <a:avLst/>
            </a:prstGeom>
          </p:spPr>
        </p:pic>
        <p:sp>
          <p:nvSpPr>
            <p:cNvPr id="18" name="Textfeld 17">
              <a:extLst>
                <a:ext uri="{FF2B5EF4-FFF2-40B4-BE49-F238E27FC236}">
                  <a16:creationId xmlns:a16="http://schemas.microsoft.com/office/drawing/2014/main" id="{B4457831-8429-BD43-C712-23FAD41FE23C}"/>
                </a:ext>
              </a:extLst>
            </p:cNvPr>
            <p:cNvSpPr txBox="1"/>
            <p:nvPr/>
          </p:nvSpPr>
          <p:spPr>
            <a:xfrm>
              <a:off x="339725" y="5750963"/>
              <a:ext cx="2713629" cy="554287"/>
            </a:xfrm>
            <a:prstGeom prst="rect">
              <a:avLst/>
            </a:prstGeom>
            <a:noFill/>
          </p:spPr>
          <p:txBody>
            <a:bodyPr wrap="square" lIns="0" tIns="0" rIns="0" bIns="0" rtlCol="0">
              <a:spAutoFit/>
            </a:bodyPr>
            <a:lstStyle/>
            <a:p>
              <a:r>
                <a:rPr lang="en-US" sz="1200" b="1" dirty="0" err="1">
                  <a:latin typeface="+mj-lt"/>
                </a:rPr>
                <a:t>Kirchstockach</a:t>
              </a:r>
              <a:r>
                <a:rPr lang="en-US" sz="1200" b="1" dirty="0">
                  <a:latin typeface="+mj-lt"/>
                </a:rPr>
                <a:t> geothermal CHP plant</a:t>
              </a:r>
            </a:p>
            <a:p>
              <a:r>
                <a:rPr lang="en-US" sz="1200" dirty="0">
                  <a:latin typeface="+mj-lt"/>
                </a:rPr>
                <a:t>In operation producing electricity since 2013, heat since 2021</a:t>
              </a:r>
            </a:p>
          </p:txBody>
        </p:sp>
        <p:grpSp>
          <p:nvGrpSpPr>
            <p:cNvPr id="19" name="Gruppieren 18">
              <a:extLst>
                <a:ext uri="{FF2B5EF4-FFF2-40B4-BE49-F238E27FC236}">
                  <a16:creationId xmlns:a16="http://schemas.microsoft.com/office/drawing/2014/main" id="{18BEEDA9-8BD0-5BFA-BE53-A4BAA3F9731C}"/>
                </a:ext>
              </a:extLst>
            </p:cNvPr>
            <p:cNvGrpSpPr/>
            <p:nvPr/>
          </p:nvGrpSpPr>
          <p:grpSpPr>
            <a:xfrm>
              <a:off x="393617" y="3966997"/>
              <a:ext cx="230592" cy="230592"/>
              <a:chOff x="419182" y="1715868"/>
              <a:chExt cx="230592" cy="230592"/>
            </a:xfrm>
          </p:grpSpPr>
          <p:sp>
            <p:nvSpPr>
              <p:cNvPr id="23" name="Rechteck 22">
                <a:extLst>
                  <a:ext uri="{FF2B5EF4-FFF2-40B4-BE49-F238E27FC236}">
                    <a16:creationId xmlns:a16="http://schemas.microsoft.com/office/drawing/2014/main" id="{6F84BB93-E743-5E37-CF5F-7237271066AB}"/>
                  </a:ext>
                </a:extLst>
              </p:cNvPr>
              <p:cNvSpPr/>
              <p:nvPr/>
            </p:nvSpPr>
            <p:spPr>
              <a:xfrm>
                <a:off x="419182" y="1715868"/>
                <a:ext cx="230592" cy="23059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24" name="Grafik 23">
                <a:extLst>
                  <a:ext uri="{FF2B5EF4-FFF2-40B4-BE49-F238E27FC236}">
                    <a16:creationId xmlns:a16="http://schemas.microsoft.com/office/drawing/2014/main" id="{51DCE8AA-D2C1-172A-F836-F78529058E3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1140" y="1754057"/>
                <a:ext cx="126676" cy="154214"/>
              </a:xfrm>
              <a:prstGeom prst="rect">
                <a:avLst/>
              </a:prstGeom>
              <a:effectLst/>
            </p:spPr>
          </p:pic>
        </p:grpSp>
        <p:grpSp>
          <p:nvGrpSpPr>
            <p:cNvPr id="20" name="Gruppieren 19">
              <a:extLst>
                <a:ext uri="{FF2B5EF4-FFF2-40B4-BE49-F238E27FC236}">
                  <a16:creationId xmlns:a16="http://schemas.microsoft.com/office/drawing/2014/main" id="{ED3C4513-E4F5-2F15-8995-D1E6807D323F}"/>
                </a:ext>
              </a:extLst>
            </p:cNvPr>
            <p:cNvGrpSpPr/>
            <p:nvPr/>
          </p:nvGrpSpPr>
          <p:grpSpPr>
            <a:xfrm>
              <a:off x="644781" y="3966997"/>
              <a:ext cx="230592" cy="230592"/>
              <a:chOff x="667233" y="3983892"/>
              <a:chExt cx="230592" cy="230592"/>
            </a:xfrm>
          </p:grpSpPr>
          <p:sp>
            <p:nvSpPr>
              <p:cNvPr id="21" name="Rechteck 20">
                <a:extLst>
                  <a:ext uri="{FF2B5EF4-FFF2-40B4-BE49-F238E27FC236}">
                    <a16:creationId xmlns:a16="http://schemas.microsoft.com/office/drawing/2014/main" id="{11E24D8F-C7F0-3C1B-2BDB-047745722003}"/>
                  </a:ext>
                </a:extLst>
              </p:cNvPr>
              <p:cNvSpPr/>
              <p:nvPr/>
            </p:nvSpPr>
            <p:spPr>
              <a:xfrm>
                <a:off x="667233" y="3983892"/>
                <a:ext cx="230592" cy="230592"/>
              </a:xfrm>
              <a:prstGeom prst="rect">
                <a:avLst/>
              </a:prstGeom>
              <a:solidFill>
                <a:srgbClr val="27569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22" name="Grafik 21">
                <a:extLst>
                  <a:ext uri="{FF2B5EF4-FFF2-40B4-BE49-F238E27FC236}">
                    <a16:creationId xmlns:a16="http://schemas.microsoft.com/office/drawing/2014/main" id="{A0FB44AD-CFF7-8798-69C4-6D4F1872F9F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7432" y="4021520"/>
                <a:ext cx="90195" cy="155336"/>
              </a:xfrm>
              <a:prstGeom prst="rect">
                <a:avLst/>
              </a:prstGeom>
            </p:spPr>
          </p:pic>
        </p:grpSp>
      </p:grpSp>
      <p:grpSp>
        <p:nvGrpSpPr>
          <p:cNvPr id="25" name="Gruppieren 24">
            <a:extLst>
              <a:ext uri="{FF2B5EF4-FFF2-40B4-BE49-F238E27FC236}">
                <a16:creationId xmlns:a16="http://schemas.microsoft.com/office/drawing/2014/main" id="{F0D79363-CCE6-D746-0D06-0576E4B81659}"/>
              </a:ext>
            </a:extLst>
          </p:cNvPr>
          <p:cNvGrpSpPr/>
          <p:nvPr/>
        </p:nvGrpSpPr>
        <p:grpSpPr>
          <a:xfrm>
            <a:off x="337463" y="3966717"/>
            <a:ext cx="2718849" cy="2152368"/>
            <a:chOff x="3274815" y="3966997"/>
            <a:chExt cx="2720265" cy="2153489"/>
          </a:xfrm>
        </p:grpSpPr>
        <p:pic>
          <p:nvPicPr>
            <p:cNvPr id="26" name="Grafik 25">
              <a:extLst>
                <a:ext uri="{FF2B5EF4-FFF2-40B4-BE49-F238E27FC236}">
                  <a16:creationId xmlns:a16="http://schemas.microsoft.com/office/drawing/2014/main" id="{0C9DA529-5406-8565-9186-020876BD54A5}"/>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3274815" y="3966997"/>
              <a:ext cx="2720265" cy="1700283"/>
            </a:xfrm>
            <a:prstGeom prst="rect">
              <a:avLst/>
            </a:prstGeom>
          </p:spPr>
        </p:pic>
        <p:sp>
          <p:nvSpPr>
            <p:cNvPr id="27" name="Textfeld 26">
              <a:extLst>
                <a:ext uri="{FF2B5EF4-FFF2-40B4-BE49-F238E27FC236}">
                  <a16:creationId xmlns:a16="http://schemas.microsoft.com/office/drawing/2014/main" id="{5BCD86B2-DEBE-EAE8-925F-944FA96AD38E}"/>
                </a:ext>
              </a:extLst>
            </p:cNvPr>
            <p:cNvSpPr txBox="1"/>
            <p:nvPr/>
          </p:nvSpPr>
          <p:spPr>
            <a:xfrm>
              <a:off x="3274815" y="5750962"/>
              <a:ext cx="2713629" cy="369524"/>
            </a:xfrm>
            <a:prstGeom prst="rect">
              <a:avLst/>
            </a:prstGeom>
            <a:noFill/>
          </p:spPr>
          <p:txBody>
            <a:bodyPr wrap="square" lIns="0" tIns="0" rIns="0" bIns="0" rtlCol="0">
              <a:spAutoFit/>
            </a:bodyPr>
            <a:lstStyle/>
            <a:p>
              <a:r>
                <a:rPr lang="en-US" sz="1200" b="1" dirty="0" err="1">
                  <a:latin typeface="+mj-lt"/>
                </a:rPr>
                <a:t>Sauerlach</a:t>
              </a:r>
              <a:r>
                <a:rPr lang="en-US" sz="1200" b="1" dirty="0">
                  <a:latin typeface="+mj-lt"/>
                </a:rPr>
                <a:t> geothermal CHP plant</a:t>
              </a:r>
            </a:p>
            <a:p>
              <a:r>
                <a:rPr lang="en-US" sz="1200" dirty="0">
                  <a:latin typeface="+mj-lt"/>
                </a:rPr>
                <a:t>In operation since 2013</a:t>
              </a:r>
            </a:p>
          </p:txBody>
        </p:sp>
        <p:grpSp>
          <p:nvGrpSpPr>
            <p:cNvPr id="28" name="Gruppieren 27">
              <a:extLst>
                <a:ext uri="{FF2B5EF4-FFF2-40B4-BE49-F238E27FC236}">
                  <a16:creationId xmlns:a16="http://schemas.microsoft.com/office/drawing/2014/main" id="{D5412BE0-A52F-CE6D-4662-654A26A91DB2}"/>
                </a:ext>
              </a:extLst>
            </p:cNvPr>
            <p:cNvGrpSpPr/>
            <p:nvPr/>
          </p:nvGrpSpPr>
          <p:grpSpPr>
            <a:xfrm>
              <a:off x="3314421" y="3966997"/>
              <a:ext cx="230592" cy="230592"/>
              <a:chOff x="419182" y="1715868"/>
              <a:chExt cx="230592" cy="230592"/>
            </a:xfrm>
          </p:grpSpPr>
          <p:sp>
            <p:nvSpPr>
              <p:cNvPr id="32" name="Rechteck 31">
                <a:extLst>
                  <a:ext uri="{FF2B5EF4-FFF2-40B4-BE49-F238E27FC236}">
                    <a16:creationId xmlns:a16="http://schemas.microsoft.com/office/drawing/2014/main" id="{A86013B9-A263-FA93-5060-77BBAB15A506}"/>
                  </a:ext>
                </a:extLst>
              </p:cNvPr>
              <p:cNvSpPr/>
              <p:nvPr/>
            </p:nvSpPr>
            <p:spPr>
              <a:xfrm>
                <a:off x="419182" y="1715868"/>
                <a:ext cx="230592" cy="23059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33" name="Grafik 32">
                <a:extLst>
                  <a:ext uri="{FF2B5EF4-FFF2-40B4-BE49-F238E27FC236}">
                    <a16:creationId xmlns:a16="http://schemas.microsoft.com/office/drawing/2014/main" id="{3C8F1220-2613-D1D5-C616-6B53541BE7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1140" y="1754057"/>
                <a:ext cx="126676" cy="154214"/>
              </a:xfrm>
              <a:prstGeom prst="rect">
                <a:avLst/>
              </a:prstGeom>
              <a:effectLst/>
            </p:spPr>
          </p:pic>
        </p:grpSp>
        <p:grpSp>
          <p:nvGrpSpPr>
            <p:cNvPr id="29" name="Gruppieren 28">
              <a:extLst>
                <a:ext uri="{FF2B5EF4-FFF2-40B4-BE49-F238E27FC236}">
                  <a16:creationId xmlns:a16="http://schemas.microsoft.com/office/drawing/2014/main" id="{0FED0E4B-4B33-2780-D018-906B2DA85500}"/>
                </a:ext>
              </a:extLst>
            </p:cNvPr>
            <p:cNvGrpSpPr/>
            <p:nvPr/>
          </p:nvGrpSpPr>
          <p:grpSpPr>
            <a:xfrm>
              <a:off x="3565585" y="3966997"/>
              <a:ext cx="230592" cy="230592"/>
              <a:chOff x="667233" y="3983892"/>
              <a:chExt cx="230592" cy="230592"/>
            </a:xfrm>
          </p:grpSpPr>
          <p:sp>
            <p:nvSpPr>
              <p:cNvPr id="30" name="Rechteck 29">
                <a:extLst>
                  <a:ext uri="{FF2B5EF4-FFF2-40B4-BE49-F238E27FC236}">
                    <a16:creationId xmlns:a16="http://schemas.microsoft.com/office/drawing/2014/main" id="{E77AF317-3C95-D2FA-5707-D64AD15EF2B7}"/>
                  </a:ext>
                </a:extLst>
              </p:cNvPr>
              <p:cNvSpPr/>
              <p:nvPr/>
            </p:nvSpPr>
            <p:spPr>
              <a:xfrm>
                <a:off x="667233" y="3983892"/>
                <a:ext cx="230592" cy="230592"/>
              </a:xfrm>
              <a:prstGeom prst="rect">
                <a:avLst/>
              </a:prstGeom>
              <a:solidFill>
                <a:srgbClr val="27569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31" name="Grafik 30">
                <a:extLst>
                  <a:ext uri="{FF2B5EF4-FFF2-40B4-BE49-F238E27FC236}">
                    <a16:creationId xmlns:a16="http://schemas.microsoft.com/office/drawing/2014/main" id="{166ED920-1B04-883A-EE67-EDB79394A3A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7432" y="4021520"/>
                <a:ext cx="90195" cy="155336"/>
              </a:xfrm>
              <a:prstGeom prst="rect">
                <a:avLst/>
              </a:prstGeom>
            </p:spPr>
          </p:pic>
        </p:grpSp>
      </p:grpSp>
      <p:grpSp>
        <p:nvGrpSpPr>
          <p:cNvPr id="34" name="Gruppieren 33">
            <a:extLst>
              <a:ext uri="{FF2B5EF4-FFF2-40B4-BE49-F238E27FC236}">
                <a16:creationId xmlns:a16="http://schemas.microsoft.com/office/drawing/2014/main" id="{748EE2AE-E222-61E7-571A-8129233B1086}"/>
              </a:ext>
            </a:extLst>
          </p:cNvPr>
          <p:cNvGrpSpPr/>
          <p:nvPr/>
        </p:nvGrpSpPr>
        <p:grpSpPr>
          <a:xfrm>
            <a:off x="3264392" y="3966717"/>
            <a:ext cx="2718849" cy="2150013"/>
            <a:chOff x="6203269" y="3966997"/>
            <a:chExt cx="2720265" cy="2151133"/>
          </a:xfrm>
        </p:grpSpPr>
        <p:pic>
          <p:nvPicPr>
            <p:cNvPr id="35" name="Grafik 34">
              <a:extLst>
                <a:ext uri="{FF2B5EF4-FFF2-40B4-BE49-F238E27FC236}">
                  <a16:creationId xmlns:a16="http://schemas.microsoft.com/office/drawing/2014/main" id="{AC741934-CE70-5318-D9ED-8CB5670DAC07}"/>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6203269" y="3966997"/>
              <a:ext cx="2720265" cy="1700283"/>
            </a:xfrm>
            <a:prstGeom prst="rect">
              <a:avLst/>
            </a:prstGeom>
          </p:spPr>
        </p:pic>
        <p:sp>
          <p:nvSpPr>
            <p:cNvPr id="36" name="Textfeld 35">
              <a:extLst>
                <a:ext uri="{FF2B5EF4-FFF2-40B4-BE49-F238E27FC236}">
                  <a16:creationId xmlns:a16="http://schemas.microsoft.com/office/drawing/2014/main" id="{759AF5A7-DFDC-A8D3-6ADC-07DAFB48DCD5}"/>
                </a:ext>
              </a:extLst>
            </p:cNvPr>
            <p:cNvSpPr txBox="1"/>
            <p:nvPr/>
          </p:nvSpPr>
          <p:spPr>
            <a:xfrm>
              <a:off x="6209905" y="5748606"/>
              <a:ext cx="2713629" cy="369524"/>
            </a:xfrm>
            <a:prstGeom prst="rect">
              <a:avLst/>
            </a:prstGeom>
            <a:noFill/>
          </p:spPr>
          <p:txBody>
            <a:bodyPr wrap="square" lIns="0" tIns="0" rIns="0" bIns="0" rtlCol="0">
              <a:spAutoFit/>
            </a:bodyPr>
            <a:lstStyle/>
            <a:p>
              <a:r>
                <a:rPr lang="en-US" sz="1200" b="1" dirty="0" err="1">
                  <a:latin typeface="+mj-lt"/>
                </a:rPr>
                <a:t>Dürrnhaar</a:t>
              </a:r>
              <a:r>
                <a:rPr lang="en-US" sz="1200" b="1" dirty="0">
                  <a:latin typeface="+mj-lt"/>
                </a:rPr>
                <a:t> geothermal power plant</a:t>
              </a:r>
            </a:p>
            <a:p>
              <a:r>
                <a:rPr lang="en-US" sz="1200" dirty="0">
                  <a:latin typeface="+mj-lt"/>
                </a:rPr>
                <a:t>In operation since 2012</a:t>
              </a:r>
            </a:p>
          </p:txBody>
        </p:sp>
        <p:grpSp>
          <p:nvGrpSpPr>
            <p:cNvPr id="37" name="Gruppieren 36">
              <a:extLst>
                <a:ext uri="{FF2B5EF4-FFF2-40B4-BE49-F238E27FC236}">
                  <a16:creationId xmlns:a16="http://schemas.microsoft.com/office/drawing/2014/main" id="{86A173E4-0E7C-8224-FA5D-8F148DF81B39}"/>
                </a:ext>
              </a:extLst>
            </p:cNvPr>
            <p:cNvGrpSpPr/>
            <p:nvPr/>
          </p:nvGrpSpPr>
          <p:grpSpPr>
            <a:xfrm>
              <a:off x="6260566" y="3966997"/>
              <a:ext cx="230592" cy="230592"/>
              <a:chOff x="667233" y="3983892"/>
              <a:chExt cx="230592" cy="230592"/>
            </a:xfrm>
          </p:grpSpPr>
          <p:sp>
            <p:nvSpPr>
              <p:cNvPr id="38" name="Rechteck 37">
                <a:extLst>
                  <a:ext uri="{FF2B5EF4-FFF2-40B4-BE49-F238E27FC236}">
                    <a16:creationId xmlns:a16="http://schemas.microsoft.com/office/drawing/2014/main" id="{4484EF30-E65E-F7EA-644C-9397A0E8D412}"/>
                  </a:ext>
                </a:extLst>
              </p:cNvPr>
              <p:cNvSpPr/>
              <p:nvPr/>
            </p:nvSpPr>
            <p:spPr>
              <a:xfrm>
                <a:off x="667233" y="3983892"/>
                <a:ext cx="230592" cy="230592"/>
              </a:xfrm>
              <a:prstGeom prst="rect">
                <a:avLst/>
              </a:prstGeom>
              <a:solidFill>
                <a:srgbClr val="27569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39" name="Grafik 38">
                <a:extLst>
                  <a:ext uri="{FF2B5EF4-FFF2-40B4-BE49-F238E27FC236}">
                    <a16:creationId xmlns:a16="http://schemas.microsoft.com/office/drawing/2014/main" id="{064CF7ED-47EA-9810-76C5-0EFA0D8557C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7432" y="4021520"/>
                <a:ext cx="90195" cy="155336"/>
              </a:xfrm>
              <a:prstGeom prst="rect">
                <a:avLst/>
              </a:prstGeom>
            </p:spPr>
          </p:pic>
        </p:grpSp>
      </p:grpSp>
      <p:sp>
        <p:nvSpPr>
          <p:cNvPr id="40" name="Textfeld 39">
            <a:extLst>
              <a:ext uri="{FF2B5EF4-FFF2-40B4-BE49-F238E27FC236}">
                <a16:creationId xmlns:a16="http://schemas.microsoft.com/office/drawing/2014/main" id="{EF77701D-608A-9A1E-44CD-0513D107E258}"/>
              </a:ext>
            </a:extLst>
          </p:cNvPr>
          <p:cNvSpPr txBox="1"/>
          <p:nvPr/>
        </p:nvSpPr>
        <p:spPr>
          <a:xfrm>
            <a:off x="6200041" y="3496773"/>
            <a:ext cx="2712216" cy="369332"/>
          </a:xfrm>
          <a:prstGeom prst="rect">
            <a:avLst/>
          </a:prstGeom>
          <a:noFill/>
        </p:spPr>
        <p:txBody>
          <a:bodyPr wrap="square" lIns="0" tIns="0" rIns="0" bIns="0" rtlCol="0">
            <a:spAutoFit/>
          </a:bodyPr>
          <a:lstStyle/>
          <a:p>
            <a:r>
              <a:rPr lang="en-US" sz="1200" b="1" dirty="0" err="1">
                <a:latin typeface="+mj-lt"/>
              </a:rPr>
              <a:t>Freiham</a:t>
            </a:r>
            <a:r>
              <a:rPr lang="en-US" sz="1200" b="1" dirty="0">
                <a:latin typeface="+mj-lt"/>
              </a:rPr>
              <a:t> geothermal heat plant</a:t>
            </a:r>
          </a:p>
          <a:p>
            <a:r>
              <a:rPr lang="en-US" sz="1200" dirty="0">
                <a:latin typeface="+mj-lt"/>
              </a:rPr>
              <a:t>in operation since 2016</a:t>
            </a:r>
          </a:p>
        </p:txBody>
      </p:sp>
      <p:sp>
        <p:nvSpPr>
          <p:cNvPr id="41" name="Textfeld 40">
            <a:extLst>
              <a:ext uri="{FF2B5EF4-FFF2-40B4-BE49-F238E27FC236}">
                <a16:creationId xmlns:a16="http://schemas.microsoft.com/office/drawing/2014/main" id="{84919C0C-11BD-490F-6CDF-C6FB24F47D82}"/>
              </a:ext>
            </a:extLst>
          </p:cNvPr>
          <p:cNvSpPr txBox="1"/>
          <p:nvPr/>
        </p:nvSpPr>
        <p:spPr>
          <a:xfrm>
            <a:off x="3273111" y="3496772"/>
            <a:ext cx="2712216" cy="369332"/>
          </a:xfrm>
          <a:prstGeom prst="rect">
            <a:avLst/>
          </a:prstGeom>
          <a:noFill/>
        </p:spPr>
        <p:txBody>
          <a:bodyPr wrap="square" lIns="0" tIns="0" rIns="0" bIns="0" rtlCol="0">
            <a:spAutoFit/>
          </a:bodyPr>
          <a:lstStyle/>
          <a:p>
            <a:r>
              <a:rPr lang="en-US" sz="1200" b="1" dirty="0" err="1">
                <a:latin typeface="+mj-lt"/>
              </a:rPr>
              <a:t>Energiestandort</a:t>
            </a:r>
            <a:r>
              <a:rPr lang="en-US" sz="1200" b="1" dirty="0">
                <a:latin typeface="+mj-lt"/>
              </a:rPr>
              <a:t> Süd geothermal heat plant </a:t>
            </a:r>
            <a:r>
              <a:rPr lang="en-US" sz="1200" dirty="0">
                <a:latin typeface="+mj-lt"/>
              </a:rPr>
              <a:t>in operation since 2021</a:t>
            </a:r>
          </a:p>
        </p:txBody>
      </p:sp>
      <p:sp>
        <p:nvSpPr>
          <p:cNvPr id="42" name="Textfeld 41">
            <a:extLst>
              <a:ext uri="{FF2B5EF4-FFF2-40B4-BE49-F238E27FC236}">
                <a16:creationId xmlns:a16="http://schemas.microsoft.com/office/drawing/2014/main" id="{113BFAAF-25B1-7E87-5B2E-5A0481A461AD}"/>
              </a:ext>
            </a:extLst>
          </p:cNvPr>
          <p:cNvSpPr txBox="1"/>
          <p:nvPr/>
        </p:nvSpPr>
        <p:spPr>
          <a:xfrm>
            <a:off x="346181" y="3494416"/>
            <a:ext cx="2712216" cy="369332"/>
          </a:xfrm>
          <a:prstGeom prst="rect">
            <a:avLst/>
          </a:prstGeom>
          <a:noFill/>
        </p:spPr>
        <p:txBody>
          <a:bodyPr wrap="square" lIns="0" tIns="0" rIns="0" bIns="0" rtlCol="0">
            <a:spAutoFit/>
          </a:bodyPr>
          <a:lstStyle/>
          <a:p>
            <a:r>
              <a:rPr lang="en-US" sz="1200" b="1" dirty="0" err="1">
                <a:latin typeface="+mj-lt"/>
              </a:rPr>
              <a:t>Michaelibad</a:t>
            </a:r>
            <a:r>
              <a:rPr lang="en-US" sz="1200" b="1" dirty="0">
                <a:latin typeface="+mj-lt"/>
              </a:rPr>
              <a:t> geothermal plant</a:t>
            </a:r>
          </a:p>
          <a:p>
            <a:r>
              <a:rPr lang="en-US" sz="1200" dirty="0">
                <a:latin typeface="+mj-lt"/>
              </a:rPr>
              <a:t>Under construction</a:t>
            </a:r>
          </a:p>
        </p:txBody>
      </p:sp>
      <p:grpSp>
        <p:nvGrpSpPr>
          <p:cNvPr id="43" name="Gruppieren 42">
            <a:extLst>
              <a:ext uri="{FF2B5EF4-FFF2-40B4-BE49-F238E27FC236}">
                <a16:creationId xmlns:a16="http://schemas.microsoft.com/office/drawing/2014/main" id="{6C9C251A-AC05-379B-4501-6EB85CD8BF30}"/>
              </a:ext>
            </a:extLst>
          </p:cNvPr>
          <p:cNvGrpSpPr/>
          <p:nvPr/>
        </p:nvGrpSpPr>
        <p:grpSpPr>
          <a:xfrm>
            <a:off x="393412" y="1706744"/>
            <a:ext cx="230472" cy="230472"/>
            <a:chOff x="419182" y="1715868"/>
            <a:chExt cx="230592" cy="230592"/>
          </a:xfrm>
        </p:grpSpPr>
        <p:sp>
          <p:nvSpPr>
            <p:cNvPr id="44" name="Rechteck 43">
              <a:extLst>
                <a:ext uri="{FF2B5EF4-FFF2-40B4-BE49-F238E27FC236}">
                  <a16:creationId xmlns:a16="http://schemas.microsoft.com/office/drawing/2014/main" id="{3266B2F3-DD9A-3E45-80E9-970E20CF72F0}"/>
                </a:ext>
              </a:extLst>
            </p:cNvPr>
            <p:cNvSpPr/>
            <p:nvPr/>
          </p:nvSpPr>
          <p:spPr>
            <a:xfrm>
              <a:off x="419182" y="1715868"/>
              <a:ext cx="230592" cy="23059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45" name="Grafik 44">
              <a:extLst>
                <a:ext uri="{FF2B5EF4-FFF2-40B4-BE49-F238E27FC236}">
                  <a16:creationId xmlns:a16="http://schemas.microsoft.com/office/drawing/2014/main" id="{8BDFE074-2BA4-2F4C-5901-09E013194A1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1140" y="1754057"/>
              <a:ext cx="126676" cy="154214"/>
            </a:xfrm>
            <a:prstGeom prst="rect">
              <a:avLst/>
            </a:prstGeom>
            <a:effectLst/>
          </p:spPr>
        </p:pic>
      </p:grpSp>
      <p:grpSp>
        <p:nvGrpSpPr>
          <p:cNvPr id="46" name="Gruppieren 45">
            <a:extLst>
              <a:ext uri="{FF2B5EF4-FFF2-40B4-BE49-F238E27FC236}">
                <a16:creationId xmlns:a16="http://schemas.microsoft.com/office/drawing/2014/main" id="{8934582F-E7B2-8D3F-58B5-12DF1288279D}"/>
              </a:ext>
            </a:extLst>
          </p:cNvPr>
          <p:cNvGrpSpPr/>
          <p:nvPr/>
        </p:nvGrpSpPr>
        <p:grpSpPr>
          <a:xfrm>
            <a:off x="3312696" y="1722757"/>
            <a:ext cx="230472" cy="230472"/>
            <a:chOff x="419182" y="1715868"/>
            <a:chExt cx="230592" cy="230592"/>
          </a:xfrm>
        </p:grpSpPr>
        <p:sp>
          <p:nvSpPr>
            <p:cNvPr id="47" name="Rechteck 46">
              <a:extLst>
                <a:ext uri="{FF2B5EF4-FFF2-40B4-BE49-F238E27FC236}">
                  <a16:creationId xmlns:a16="http://schemas.microsoft.com/office/drawing/2014/main" id="{EFA73C9C-436B-E88C-34AC-AD0890045251}"/>
                </a:ext>
              </a:extLst>
            </p:cNvPr>
            <p:cNvSpPr/>
            <p:nvPr/>
          </p:nvSpPr>
          <p:spPr>
            <a:xfrm>
              <a:off x="419182" y="1715868"/>
              <a:ext cx="230592" cy="23059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48" name="Grafik 47">
              <a:extLst>
                <a:ext uri="{FF2B5EF4-FFF2-40B4-BE49-F238E27FC236}">
                  <a16:creationId xmlns:a16="http://schemas.microsoft.com/office/drawing/2014/main" id="{493FE436-639A-6B8B-5E48-4DC51AC2FB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1140" y="1754057"/>
              <a:ext cx="126676" cy="154214"/>
            </a:xfrm>
            <a:prstGeom prst="rect">
              <a:avLst/>
            </a:prstGeom>
            <a:effectLst/>
          </p:spPr>
        </p:pic>
      </p:grpSp>
      <p:grpSp>
        <p:nvGrpSpPr>
          <p:cNvPr id="49" name="Gruppieren 48">
            <a:extLst>
              <a:ext uri="{FF2B5EF4-FFF2-40B4-BE49-F238E27FC236}">
                <a16:creationId xmlns:a16="http://schemas.microsoft.com/office/drawing/2014/main" id="{D45E0955-4AA4-3E45-553C-F69E0987E815}"/>
              </a:ext>
            </a:extLst>
          </p:cNvPr>
          <p:cNvGrpSpPr/>
          <p:nvPr/>
        </p:nvGrpSpPr>
        <p:grpSpPr>
          <a:xfrm>
            <a:off x="6257307" y="1722757"/>
            <a:ext cx="230472" cy="230472"/>
            <a:chOff x="419182" y="1715868"/>
            <a:chExt cx="230592" cy="230592"/>
          </a:xfrm>
        </p:grpSpPr>
        <p:sp>
          <p:nvSpPr>
            <p:cNvPr id="50" name="Rechteck 49">
              <a:extLst>
                <a:ext uri="{FF2B5EF4-FFF2-40B4-BE49-F238E27FC236}">
                  <a16:creationId xmlns:a16="http://schemas.microsoft.com/office/drawing/2014/main" id="{F2793316-B91E-D9C5-9B07-51A23ADD49F6}"/>
                </a:ext>
              </a:extLst>
            </p:cNvPr>
            <p:cNvSpPr/>
            <p:nvPr/>
          </p:nvSpPr>
          <p:spPr>
            <a:xfrm>
              <a:off x="419182" y="1715868"/>
              <a:ext cx="230592" cy="23059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799">
                <a:solidFill>
                  <a:schemeClr val="tx1"/>
                </a:solidFill>
              </a:endParaRPr>
            </a:p>
          </p:txBody>
        </p:sp>
        <p:pic>
          <p:nvPicPr>
            <p:cNvPr id="51" name="Grafik 50">
              <a:extLst>
                <a:ext uri="{FF2B5EF4-FFF2-40B4-BE49-F238E27FC236}">
                  <a16:creationId xmlns:a16="http://schemas.microsoft.com/office/drawing/2014/main" id="{B08C51B9-A948-3541-0867-0BDE4D10C4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71140" y="1754057"/>
              <a:ext cx="126676" cy="154214"/>
            </a:xfrm>
            <a:prstGeom prst="rect">
              <a:avLst/>
            </a:prstGeom>
            <a:effectLst/>
          </p:spPr>
        </p:pic>
      </p:grpSp>
      <p:sp>
        <p:nvSpPr>
          <p:cNvPr id="52" name="Foliennummernplatzhalter 3">
            <a:extLst>
              <a:ext uri="{FF2B5EF4-FFF2-40B4-BE49-F238E27FC236}">
                <a16:creationId xmlns:a16="http://schemas.microsoft.com/office/drawing/2014/main" id="{BDC2D8E4-E5DA-F230-2219-EE5BEA0CC9BE}"/>
              </a:ext>
            </a:extLst>
          </p:cNvPr>
          <p:cNvSpPr>
            <a:spLocks noGrp="1"/>
          </p:cNvSpPr>
          <p:nvPr>
            <p:ph type="sldNum" sz="quarter" idx="14"/>
          </p:nvPr>
        </p:nvSpPr>
        <p:spPr>
          <a:xfrm>
            <a:off x="344061" y="6509589"/>
            <a:ext cx="257950" cy="153888"/>
          </a:xfrm>
        </p:spPr>
        <p:txBody>
          <a:bodyPr/>
          <a:lstStyle/>
          <a:p>
            <a:fld id="{40441A6B-36FC-40E4-92B0-8DF9D88ADCB4}" type="slidenum">
              <a:rPr lang="de-DE" smtClean="0"/>
              <a:t>5</a:t>
            </a:fld>
            <a:endParaRPr lang="de-DE"/>
          </a:p>
        </p:txBody>
      </p:sp>
      <p:sp>
        <p:nvSpPr>
          <p:cNvPr id="53" name="Datumsplatzhalter 2">
            <a:extLst>
              <a:ext uri="{FF2B5EF4-FFF2-40B4-BE49-F238E27FC236}">
                <a16:creationId xmlns:a16="http://schemas.microsoft.com/office/drawing/2014/main" id="{6F95B45A-93CC-7EF8-C5C1-155D11F04BC1}"/>
              </a:ext>
            </a:extLst>
          </p:cNvPr>
          <p:cNvSpPr txBox="1">
            <a:spLocks/>
          </p:cNvSpPr>
          <p:nvPr/>
        </p:nvSpPr>
        <p:spPr>
          <a:xfrm>
            <a:off x="865874" y="6456200"/>
            <a:ext cx="2264239" cy="14203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999">
                <a:solidFill>
                  <a:srgbClr val="738792"/>
                </a:solidFill>
                <a:latin typeface="Arial" pitchFamily="34" charset="0"/>
                <a:cs typeface="Arial" pitchFamily="34" charset="0"/>
              </a:rPr>
              <a:t>21.03.25 / Stadtwerke München</a:t>
            </a:r>
          </a:p>
        </p:txBody>
      </p:sp>
    </p:spTree>
    <p:extLst>
      <p:ext uri="{BB962C8B-B14F-4D97-AF65-F5344CB8AC3E}">
        <p14:creationId xmlns:p14="http://schemas.microsoft.com/office/powerpoint/2010/main" val="1313370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descr="Ein Bild, das Text, Screenshot, Diagramm enthält.&#10;&#10;Automatisch generierte Beschreibung">
            <a:extLst>
              <a:ext uri="{FF2B5EF4-FFF2-40B4-BE49-F238E27FC236}">
                <a16:creationId xmlns:a16="http://schemas.microsoft.com/office/drawing/2014/main" id="{E9F1B729-090C-F28E-F4E2-0F89D7A9ED6F}"/>
              </a:ext>
            </a:extLst>
          </p:cNvPr>
          <p:cNvPicPr>
            <a:picLocks noChangeAspect="1"/>
          </p:cNvPicPr>
          <p:nvPr/>
        </p:nvPicPr>
        <p:blipFill rotWithShape="1">
          <a:blip r:embed="rId3"/>
          <a:srcRect l="4106"/>
          <a:stretch/>
        </p:blipFill>
        <p:spPr>
          <a:xfrm>
            <a:off x="3903233" y="340404"/>
            <a:ext cx="8289314" cy="5864346"/>
          </a:xfrm>
          <a:prstGeom prst="rect">
            <a:avLst/>
          </a:prstGeom>
        </p:spPr>
      </p:pic>
      <p:sp>
        <p:nvSpPr>
          <p:cNvPr id="12" name="Textplatzhalter 11">
            <a:extLst>
              <a:ext uri="{FF2B5EF4-FFF2-40B4-BE49-F238E27FC236}">
                <a16:creationId xmlns:a16="http://schemas.microsoft.com/office/drawing/2014/main" id="{4C11E106-1861-B7F2-BA62-5AFC231138D8}"/>
              </a:ext>
            </a:extLst>
          </p:cNvPr>
          <p:cNvSpPr>
            <a:spLocks noGrp="1"/>
          </p:cNvSpPr>
          <p:nvPr>
            <p:ph type="body" sz="quarter" idx="10"/>
          </p:nvPr>
        </p:nvSpPr>
        <p:spPr>
          <a:xfrm>
            <a:off x="339548" y="206439"/>
            <a:ext cx="11512904" cy="184538"/>
          </a:xfrm>
        </p:spPr>
        <p:txBody>
          <a:bodyPr/>
          <a:lstStyle/>
          <a:p>
            <a:r>
              <a:rPr lang="en-US" dirty="0"/>
              <a:t> Expansion of thermal utilization of geothermal energy in Munich </a:t>
            </a:r>
          </a:p>
        </p:txBody>
      </p:sp>
      <p:sp>
        <p:nvSpPr>
          <p:cNvPr id="15" name="Inhaltsplatzhalter 14">
            <a:extLst>
              <a:ext uri="{FF2B5EF4-FFF2-40B4-BE49-F238E27FC236}">
                <a16:creationId xmlns:a16="http://schemas.microsoft.com/office/drawing/2014/main" id="{679F740B-7497-CF53-7750-1A4D809B33ED}"/>
              </a:ext>
            </a:extLst>
          </p:cNvPr>
          <p:cNvSpPr>
            <a:spLocks noGrp="1"/>
          </p:cNvSpPr>
          <p:nvPr>
            <p:ph sz="quarter" idx="11"/>
          </p:nvPr>
        </p:nvSpPr>
        <p:spPr>
          <a:xfrm>
            <a:off x="339548" y="1701802"/>
            <a:ext cx="3176285" cy="1409678"/>
          </a:xfrm>
        </p:spPr>
        <p:txBody>
          <a:bodyPr/>
          <a:lstStyle/>
          <a:p>
            <a:r>
              <a:rPr kumimoji="0" lang="en-US" sz="1800" b="0" i="0" u="none" strike="noStrike" kern="1200" cap="none" spc="0" normalizeH="0" baseline="0" noProof="0" dirty="0">
                <a:ln>
                  <a:noFill/>
                </a:ln>
                <a:solidFill>
                  <a:prstClr val="black"/>
                </a:solidFill>
                <a:effectLst/>
                <a:uLnTx/>
                <a:uFillTx/>
                <a:latin typeface="Arial"/>
                <a:ea typeface="+mn-ea"/>
                <a:cs typeface="+mn-cs"/>
              </a:rPr>
              <a:t>Future: &gt; approx. 65 wells with 800 </a:t>
            </a:r>
            <a:r>
              <a:rPr kumimoji="0" lang="en-US" sz="1800" b="0" i="0" u="none" strike="noStrike" kern="1200" cap="none" spc="0" normalizeH="0" baseline="0" noProof="0" dirty="0" err="1">
                <a:ln>
                  <a:noFill/>
                </a:ln>
                <a:solidFill>
                  <a:prstClr val="black"/>
                </a:solidFill>
                <a:effectLst/>
                <a:uLnTx/>
                <a:uFillTx/>
                <a:latin typeface="Arial"/>
                <a:ea typeface="+mn-ea"/>
                <a:cs typeface="+mn-cs"/>
              </a:rPr>
              <a:t>MWt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endParaRPr lang="en-US" sz="1800" dirty="0">
              <a:solidFill>
                <a:prstClr val="black"/>
              </a:solidFill>
              <a:latin typeface="Arial"/>
              <a:cs typeface="+mn-cs"/>
            </a:endParaRPr>
          </a:p>
          <a:p>
            <a:r>
              <a:rPr kumimoji="0" lang="en-US" sz="1800" b="0" i="0" u="none" strike="noStrike" kern="1200" cap="none" spc="0" normalizeH="0" baseline="0" noProof="0" dirty="0">
                <a:ln>
                  <a:noFill/>
                </a:ln>
                <a:solidFill>
                  <a:prstClr val="black"/>
                </a:solidFill>
                <a:effectLst/>
                <a:uLnTx/>
                <a:uFillTx/>
                <a:latin typeface="Arial"/>
                <a:ea typeface="+mn-ea"/>
                <a:cs typeface="+mn-cs"/>
              </a:rPr>
              <a:t>Heat pumps up to 10 systems with 500 </a:t>
            </a:r>
            <a:r>
              <a:rPr kumimoji="0" lang="en-US" sz="1800" b="0" i="0" u="none" strike="noStrike" kern="1200" cap="none" spc="0" normalizeH="0" baseline="0" noProof="0" dirty="0" err="1">
                <a:ln>
                  <a:noFill/>
                </a:ln>
                <a:solidFill>
                  <a:prstClr val="black"/>
                </a:solidFill>
                <a:effectLst/>
                <a:uLnTx/>
                <a:uFillTx/>
                <a:latin typeface="Arial"/>
                <a:ea typeface="+mn-ea"/>
                <a:cs typeface="+mn-cs"/>
              </a:rPr>
              <a:t>MWth</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endParaRPr lang="de-DE" dirty="0"/>
          </a:p>
        </p:txBody>
      </p:sp>
      <p:sp>
        <p:nvSpPr>
          <p:cNvPr id="4" name="Titel 3">
            <a:extLst>
              <a:ext uri="{FF2B5EF4-FFF2-40B4-BE49-F238E27FC236}">
                <a16:creationId xmlns:a16="http://schemas.microsoft.com/office/drawing/2014/main" id="{0A874131-4671-1CD4-4FE3-753FD666A066}"/>
              </a:ext>
            </a:extLst>
          </p:cNvPr>
          <p:cNvSpPr>
            <a:spLocks noGrp="1"/>
          </p:cNvSpPr>
          <p:nvPr>
            <p:ph type="title"/>
          </p:nvPr>
        </p:nvSpPr>
        <p:spPr/>
        <p:txBody>
          <a:bodyPr/>
          <a:lstStyle/>
          <a:p>
            <a:r>
              <a:rPr lang="en-US" sz="2400" dirty="0">
                <a:latin typeface="Arial"/>
                <a:cs typeface="Arial"/>
              </a:rPr>
              <a:t>District heating will become increasingly climate-friendly between now and 2045</a:t>
            </a:r>
            <a:endParaRPr lang="de-DE" dirty="0"/>
          </a:p>
        </p:txBody>
      </p:sp>
      <p:sp>
        <p:nvSpPr>
          <p:cNvPr id="5" name="Foliennummernplatzhalter 4">
            <a:extLst>
              <a:ext uri="{FF2B5EF4-FFF2-40B4-BE49-F238E27FC236}">
                <a16:creationId xmlns:a16="http://schemas.microsoft.com/office/drawing/2014/main" id="{3DA2D8CB-E0C6-9FE1-E6A7-983E0F744F34}"/>
              </a:ext>
            </a:extLst>
          </p:cNvPr>
          <p:cNvSpPr>
            <a:spLocks noGrp="1"/>
          </p:cNvSpPr>
          <p:nvPr>
            <p:ph type="sldNum" sz="quarter" idx="14"/>
          </p:nvPr>
        </p:nvSpPr>
        <p:spPr/>
        <p:txBody>
          <a:bodyPr/>
          <a:lstStyle/>
          <a:p>
            <a:fld id="{CAAC1DFF-D847-41A9-936B-84F626DB394F}" type="slidenum">
              <a:rPr lang="de-DE" smtClean="0"/>
              <a:pPr/>
              <a:t>6</a:t>
            </a:fld>
            <a:endParaRPr lang="de-DE"/>
          </a:p>
        </p:txBody>
      </p:sp>
      <p:sp>
        <p:nvSpPr>
          <p:cNvPr id="10" name="Textfeld 9">
            <a:extLst>
              <a:ext uri="{FF2B5EF4-FFF2-40B4-BE49-F238E27FC236}">
                <a16:creationId xmlns:a16="http://schemas.microsoft.com/office/drawing/2014/main" id="{686D433A-5B11-4EE3-39DD-5082CA9432AF}"/>
              </a:ext>
            </a:extLst>
          </p:cNvPr>
          <p:cNvSpPr txBox="1"/>
          <p:nvPr/>
        </p:nvSpPr>
        <p:spPr>
          <a:xfrm>
            <a:off x="339548" y="3529628"/>
            <a:ext cx="3176284" cy="369332"/>
          </a:xfrm>
          <a:prstGeom prst="rect">
            <a:avLst/>
          </a:prstGeom>
          <a:noFill/>
        </p:spPr>
        <p:txBody>
          <a:bodyPr wrap="square" lIns="0" tIns="0" rIns="0" bIns="0" rtlCol="0" anchor="t">
            <a:spAutoFit/>
          </a:bodyPr>
          <a:lstStyle/>
          <a:p>
            <a:r>
              <a:rPr lang="en-US" sz="1200" dirty="0"/>
              <a:t>Changes in energy sources for district heating plants between now and 2045</a:t>
            </a:r>
          </a:p>
        </p:txBody>
      </p:sp>
      <p:sp>
        <p:nvSpPr>
          <p:cNvPr id="2" name="Rechteck 1">
            <a:extLst>
              <a:ext uri="{FF2B5EF4-FFF2-40B4-BE49-F238E27FC236}">
                <a16:creationId xmlns:a16="http://schemas.microsoft.com/office/drawing/2014/main" id="{B813AF4A-4DC7-B2C2-7EAD-9A96195E92B9}"/>
              </a:ext>
            </a:extLst>
          </p:cNvPr>
          <p:cNvSpPr/>
          <p:nvPr/>
        </p:nvSpPr>
        <p:spPr>
          <a:xfrm>
            <a:off x="594409" y="4101676"/>
            <a:ext cx="2666562" cy="1617920"/>
          </a:xfrm>
          <a:prstGeom prst="rect">
            <a:avLst/>
          </a:prstGeom>
          <a:solidFill>
            <a:srgbClr val="FBFBF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50000"/>
              </a:lnSpc>
            </a:pPr>
            <a:r>
              <a:rPr lang="en-GB" sz="1200" dirty="0">
                <a:solidFill>
                  <a:schemeClr val="tx1"/>
                </a:solidFill>
                <a:latin typeface="+mj-lt"/>
              </a:rPr>
              <a:t>Hydrogen plants</a:t>
            </a:r>
          </a:p>
          <a:p>
            <a:pPr>
              <a:lnSpc>
                <a:spcPct val="150000"/>
              </a:lnSpc>
            </a:pPr>
            <a:r>
              <a:rPr lang="en-GB" sz="1200" dirty="0">
                <a:solidFill>
                  <a:schemeClr val="tx1"/>
                </a:solidFill>
                <a:latin typeface="+mj-lt"/>
              </a:rPr>
              <a:t>Natural gas plants</a:t>
            </a:r>
          </a:p>
          <a:p>
            <a:pPr>
              <a:lnSpc>
                <a:spcPct val="150000"/>
              </a:lnSpc>
            </a:pPr>
            <a:r>
              <a:rPr lang="en-GB" sz="1200" dirty="0">
                <a:solidFill>
                  <a:schemeClr val="tx1"/>
                </a:solidFill>
                <a:latin typeface="+mj-lt"/>
              </a:rPr>
              <a:t>Large-scale heat pumps</a:t>
            </a:r>
          </a:p>
          <a:p>
            <a:pPr>
              <a:lnSpc>
                <a:spcPct val="150000"/>
              </a:lnSpc>
            </a:pPr>
            <a:r>
              <a:rPr lang="en-GB" sz="1200" dirty="0">
                <a:solidFill>
                  <a:schemeClr val="tx1"/>
                </a:solidFill>
                <a:latin typeface="+mj-lt"/>
              </a:rPr>
              <a:t>Geothermal plants</a:t>
            </a:r>
          </a:p>
          <a:p>
            <a:pPr>
              <a:lnSpc>
                <a:spcPct val="150000"/>
              </a:lnSpc>
            </a:pPr>
            <a:r>
              <a:rPr lang="en-GB" sz="1200" dirty="0">
                <a:solidFill>
                  <a:schemeClr val="tx1"/>
                </a:solidFill>
                <a:latin typeface="+mj-lt"/>
              </a:rPr>
              <a:t>Biomass plants</a:t>
            </a:r>
          </a:p>
          <a:p>
            <a:pPr>
              <a:lnSpc>
                <a:spcPct val="150000"/>
              </a:lnSpc>
            </a:pPr>
            <a:r>
              <a:rPr lang="en-GB" sz="1200" dirty="0">
                <a:solidFill>
                  <a:schemeClr val="tx1"/>
                </a:solidFill>
                <a:latin typeface="+mj-lt"/>
              </a:rPr>
              <a:t>Waste incineration plants and others</a:t>
            </a:r>
          </a:p>
          <a:p>
            <a:pPr>
              <a:lnSpc>
                <a:spcPct val="150000"/>
              </a:lnSpc>
            </a:pPr>
            <a:r>
              <a:rPr lang="en-GB" sz="1200" dirty="0">
                <a:solidFill>
                  <a:schemeClr val="tx1"/>
                </a:solidFill>
                <a:latin typeface="+mj-lt"/>
              </a:rPr>
              <a:t>Summery</a:t>
            </a:r>
          </a:p>
        </p:txBody>
      </p:sp>
      <p:cxnSp>
        <p:nvCxnSpPr>
          <p:cNvPr id="14" name="Gerader Verbinder 13">
            <a:extLst>
              <a:ext uri="{FF2B5EF4-FFF2-40B4-BE49-F238E27FC236}">
                <a16:creationId xmlns:a16="http://schemas.microsoft.com/office/drawing/2014/main" id="{6BE9F86A-020F-06CC-B80B-EE9AB9FC4BD8}"/>
              </a:ext>
            </a:extLst>
          </p:cNvPr>
          <p:cNvCxnSpPr>
            <a:cxnSpLocks/>
          </p:cNvCxnSpPr>
          <p:nvPr/>
        </p:nvCxnSpPr>
        <p:spPr>
          <a:xfrm>
            <a:off x="339549" y="3919501"/>
            <a:ext cx="149361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35007E9-E8D0-7A1A-B8AE-997A4FD37314}"/>
              </a:ext>
            </a:extLst>
          </p:cNvPr>
          <p:cNvCxnSpPr>
            <a:cxnSpLocks/>
          </p:cNvCxnSpPr>
          <p:nvPr/>
        </p:nvCxnSpPr>
        <p:spPr>
          <a:xfrm>
            <a:off x="339549" y="5901513"/>
            <a:ext cx="1493613" cy="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 name="Grafik 11">
            <a:extLst>
              <a:ext uri="{FF2B5EF4-FFF2-40B4-BE49-F238E27FC236}">
                <a16:creationId xmlns:a16="http://schemas.microsoft.com/office/drawing/2014/main" id="{AEC31BDE-51F1-4733-DA1C-9AF6BE53B780}"/>
              </a:ext>
            </a:extLst>
          </p:cNvPr>
          <p:cNvGrpSpPr/>
          <p:nvPr/>
        </p:nvGrpSpPr>
        <p:grpSpPr>
          <a:xfrm>
            <a:off x="342757" y="3987874"/>
            <a:ext cx="259254" cy="1620000"/>
            <a:chOff x="1997110" y="4522989"/>
            <a:chExt cx="172388" cy="1155854"/>
          </a:xfrm>
        </p:grpSpPr>
        <p:sp>
          <p:nvSpPr>
            <p:cNvPr id="22" name="Freihandform: Form 21">
              <a:extLst>
                <a:ext uri="{FF2B5EF4-FFF2-40B4-BE49-F238E27FC236}">
                  <a16:creationId xmlns:a16="http://schemas.microsoft.com/office/drawing/2014/main" id="{5DC12C5E-17C1-A37B-704D-D127B7E331CE}"/>
                </a:ext>
              </a:extLst>
            </p:cNvPr>
            <p:cNvSpPr/>
            <p:nvPr/>
          </p:nvSpPr>
          <p:spPr>
            <a:xfrm>
              <a:off x="1997718" y="4722777"/>
              <a:ext cx="168739" cy="168739"/>
            </a:xfrm>
            <a:custGeom>
              <a:avLst/>
              <a:gdLst>
                <a:gd name="connsiteX0" fmla="*/ 0 w 168739"/>
                <a:gd name="connsiteY0" fmla="*/ 0 h 168739"/>
                <a:gd name="connsiteX1" fmla="*/ 168739 w 168739"/>
                <a:gd name="connsiteY1" fmla="*/ 0 h 168739"/>
                <a:gd name="connsiteX2" fmla="*/ 168739 w 168739"/>
                <a:gd name="connsiteY2" fmla="*/ 168739 h 168739"/>
                <a:gd name="connsiteX3" fmla="*/ 0 w 168739"/>
                <a:gd name="connsiteY3" fmla="*/ 168739 h 168739"/>
              </a:gdLst>
              <a:ahLst/>
              <a:cxnLst>
                <a:cxn ang="0">
                  <a:pos x="connsiteX0" y="connsiteY0"/>
                </a:cxn>
                <a:cxn ang="0">
                  <a:pos x="connsiteX1" y="connsiteY1"/>
                </a:cxn>
                <a:cxn ang="0">
                  <a:pos x="connsiteX2" y="connsiteY2"/>
                </a:cxn>
                <a:cxn ang="0">
                  <a:pos x="connsiteX3" y="connsiteY3"/>
                </a:cxn>
              </a:cxnLst>
              <a:rect l="l" t="t" r="r" b="b"/>
              <a:pathLst>
                <a:path w="168739" h="168739">
                  <a:moveTo>
                    <a:pt x="0" y="0"/>
                  </a:moveTo>
                  <a:lnTo>
                    <a:pt x="168739" y="0"/>
                  </a:lnTo>
                  <a:lnTo>
                    <a:pt x="168739" y="168739"/>
                  </a:lnTo>
                  <a:lnTo>
                    <a:pt x="0" y="168739"/>
                  </a:lnTo>
                  <a:close/>
                </a:path>
              </a:pathLst>
            </a:custGeom>
            <a:solidFill>
              <a:srgbClr val="CAD2D8"/>
            </a:solidFill>
            <a:ln w="0" cap="flat">
              <a:noFill/>
              <a:prstDash val="solid"/>
              <a:miter/>
            </a:ln>
          </p:spPr>
          <p:txBody>
            <a:bodyPr rtlCol="0" anchor="ctr"/>
            <a:lstStyle/>
            <a:p>
              <a:endParaRPr lang="de-DE" sz="1799"/>
            </a:p>
          </p:txBody>
        </p:sp>
        <p:sp>
          <p:nvSpPr>
            <p:cNvPr id="23" name="Freihandform: Form 22">
              <a:extLst>
                <a:ext uri="{FF2B5EF4-FFF2-40B4-BE49-F238E27FC236}">
                  <a16:creationId xmlns:a16="http://schemas.microsoft.com/office/drawing/2014/main" id="{1E750521-3A42-941F-5610-9A0B07F27D93}"/>
                </a:ext>
              </a:extLst>
            </p:cNvPr>
            <p:cNvSpPr/>
            <p:nvPr/>
          </p:nvSpPr>
          <p:spPr>
            <a:xfrm>
              <a:off x="1997110" y="4522989"/>
              <a:ext cx="168739" cy="168739"/>
            </a:xfrm>
            <a:custGeom>
              <a:avLst/>
              <a:gdLst>
                <a:gd name="connsiteX0" fmla="*/ 0 w 168739"/>
                <a:gd name="connsiteY0" fmla="*/ 0 h 168739"/>
                <a:gd name="connsiteX1" fmla="*/ 168739 w 168739"/>
                <a:gd name="connsiteY1" fmla="*/ 0 h 168739"/>
                <a:gd name="connsiteX2" fmla="*/ 168739 w 168739"/>
                <a:gd name="connsiteY2" fmla="*/ 168739 h 168739"/>
                <a:gd name="connsiteX3" fmla="*/ 0 w 168739"/>
                <a:gd name="connsiteY3" fmla="*/ 168739 h 168739"/>
              </a:gdLst>
              <a:ahLst/>
              <a:cxnLst>
                <a:cxn ang="0">
                  <a:pos x="connsiteX0" y="connsiteY0"/>
                </a:cxn>
                <a:cxn ang="0">
                  <a:pos x="connsiteX1" y="connsiteY1"/>
                </a:cxn>
                <a:cxn ang="0">
                  <a:pos x="connsiteX2" y="connsiteY2"/>
                </a:cxn>
                <a:cxn ang="0">
                  <a:pos x="connsiteX3" y="connsiteY3"/>
                </a:cxn>
              </a:cxnLst>
              <a:rect l="l" t="t" r="r" b="b"/>
              <a:pathLst>
                <a:path w="168739" h="168739">
                  <a:moveTo>
                    <a:pt x="0" y="0"/>
                  </a:moveTo>
                  <a:lnTo>
                    <a:pt x="168739" y="0"/>
                  </a:lnTo>
                  <a:lnTo>
                    <a:pt x="168739" y="168739"/>
                  </a:lnTo>
                  <a:lnTo>
                    <a:pt x="0" y="168739"/>
                  </a:lnTo>
                  <a:close/>
                </a:path>
              </a:pathLst>
            </a:custGeom>
            <a:solidFill>
              <a:srgbClr val="009DE0"/>
            </a:solidFill>
            <a:ln w="0" cap="flat">
              <a:noFill/>
              <a:prstDash val="solid"/>
              <a:miter/>
            </a:ln>
          </p:spPr>
          <p:txBody>
            <a:bodyPr rtlCol="0" anchor="ctr"/>
            <a:lstStyle/>
            <a:p>
              <a:endParaRPr lang="de-DE" sz="1799"/>
            </a:p>
          </p:txBody>
        </p:sp>
        <p:sp>
          <p:nvSpPr>
            <p:cNvPr id="24" name="Freihandform: Form 23">
              <a:extLst>
                <a:ext uri="{FF2B5EF4-FFF2-40B4-BE49-F238E27FC236}">
                  <a16:creationId xmlns:a16="http://schemas.microsoft.com/office/drawing/2014/main" id="{FAF3ECC0-7ED4-D6BC-FE76-4DD3471E47D3}"/>
                </a:ext>
              </a:extLst>
            </p:cNvPr>
            <p:cNvSpPr/>
            <p:nvPr/>
          </p:nvSpPr>
          <p:spPr>
            <a:xfrm>
              <a:off x="1999171" y="4917273"/>
              <a:ext cx="168739" cy="168739"/>
            </a:xfrm>
            <a:custGeom>
              <a:avLst/>
              <a:gdLst>
                <a:gd name="connsiteX0" fmla="*/ 0 w 168739"/>
                <a:gd name="connsiteY0" fmla="*/ 0 h 168739"/>
                <a:gd name="connsiteX1" fmla="*/ 168739 w 168739"/>
                <a:gd name="connsiteY1" fmla="*/ 0 h 168739"/>
                <a:gd name="connsiteX2" fmla="*/ 168739 w 168739"/>
                <a:gd name="connsiteY2" fmla="*/ 168739 h 168739"/>
                <a:gd name="connsiteX3" fmla="*/ 0 w 168739"/>
                <a:gd name="connsiteY3" fmla="*/ 168739 h 168739"/>
              </a:gdLst>
              <a:ahLst/>
              <a:cxnLst>
                <a:cxn ang="0">
                  <a:pos x="connsiteX0" y="connsiteY0"/>
                </a:cxn>
                <a:cxn ang="0">
                  <a:pos x="connsiteX1" y="connsiteY1"/>
                </a:cxn>
                <a:cxn ang="0">
                  <a:pos x="connsiteX2" y="connsiteY2"/>
                </a:cxn>
                <a:cxn ang="0">
                  <a:pos x="connsiteX3" y="connsiteY3"/>
                </a:cxn>
              </a:cxnLst>
              <a:rect l="l" t="t" r="r" b="b"/>
              <a:pathLst>
                <a:path w="168739" h="168739">
                  <a:moveTo>
                    <a:pt x="0" y="0"/>
                  </a:moveTo>
                  <a:lnTo>
                    <a:pt x="168739" y="0"/>
                  </a:lnTo>
                  <a:lnTo>
                    <a:pt x="168739" y="168739"/>
                  </a:lnTo>
                  <a:lnTo>
                    <a:pt x="0" y="168739"/>
                  </a:lnTo>
                  <a:close/>
                </a:path>
              </a:pathLst>
            </a:custGeom>
            <a:solidFill>
              <a:srgbClr val="DCE5B2"/>
            </a:solidFill>
            <a:ln w="0" cap="flat">
              <a:noFill/>
              <a:prstDash val="solid"/>
              <a:miter/>
            </a:ln>
          </p:spPr>
          <p:txBody>
            <a:bodyPr rtlCol="0" anchor="ctr"/>
            <a:lstStyle/>
            <a:p>
              <a:endParaRPr lang="de-DE" sz="1799"/>
            </a:p>
          </p:txBody>
        </p:sp>
        <p:sp>
          <p:nvSpPr>
            <p:cNvPr id="25" name="Freihandform: Form 24">
              <a:extLst>
                <a:ext uri="{FF2B5EF4-FFF2-40B4-BE49-F238E27FC236}">
                  <a16:creationId xmlns:a16="http://schemas.microsoft.com/office/drawing/2014/main" id="{FE253658-D482-89B3-DE53-8801C5995E09}"/>
                </a:ext>
              </a:extLst>
            </p:cNvPr>
            <p:cNvSpPr/>
            <p:nvPr/>
          </p:nvSpPr>
          <p:spPr>
            <a:xfrm>
              <a:off x="2000759" y="5110598"/>
              <a:ext cx="168739" cy="168739"/>
            </a:xfrm>
            <a:custGeom>
              <a:avLst/>
              <a:gdLst>
                <a:gd name="connsiteX0" fmla="*/ 0 w 168739"/>
                <a:gd name="connsiteY0" fmla="*/ 0 h 168739"/>
                <a:gd name="connsiteX1" fmla="*/ 168739 w 168739"/>
                <a:gd name="connsiteY1" fmla="*/ 0 h 168739"/>
                <a:gd name="connsiteX2" fmla="*/ 168739 w 168739"/>
                <a:gd name="connsiteY2" fmla="*/ 168739 h 168739"/>
                <a:gd name="connsiteX3" fmla="*/ 0 w 168739"/>
                <a:gd name="connsiteY3" fmla="*/ 168739 h 168739"/>
              </a:gdLst>
              <a:ahLst/>
              <a:cxnLst>
                <a:cxn ang="0">
                  <a:pos x="connsiteX0" y="connsiteY0"/>
                </a:cxn>
                <a:cxn ang="0">
                  <a:pos x="connsiteX1" y="connsiteY1"/>
                </a:cxn>
                <a:cxn ang="0">
                  <a:pos x="connsiteX2" y="connsiteY2"/>
                </a:cxn>
                <a:cxn ang="0">
                  <a:pos x="connsiteX3" y="connsiteY3"/>
                </a:cxn>
              </a:cxnLst>
              <a:rect l="l" t="t" r="r" b="b"/>
              <a:pathLst>
                <a:path w="168739" h="168739">
                  <a:moveTo>
                    <a:pt x="0" y="0"/>
                  </a:moveTo>
                  <a:lnTo>
                    <a:pt x="168739" y="0"/>
                  </a:lnTo>
                  <a:lnTo>
                    <a:pt x="168739" y="168739"/>
                  </a:lnTo>
                  <a:lnTo>
                    <a:pt x="0" y="168739"/>
                  </a:lnTo>
                  <a:close/>
                </a:path>
              </a:pathLst>
            </a:custGeom>
            <a:solidFill>
              <a:srgbClr val="75AD40"/>
            </a:solidFill>
            <a:ln w="0" cap="flat">
              <a:noFill/>
              <a:prstDash val="solid"/>
              <a:miter/>
            </a:ln>
          </p:spPr>
          <p:txBody>
            <a:bodyPr rtlCol="0" anchor="ctr"/>
            <a:lstStyle/>
            <a:p>
              <a:endParaRPr lang="de-DE" sz="1799"/>
            </a:p>
          </p:txBody>
        </p:sp>
        <p:sp>
          <p:nvSpPr>
            <p:cNvPr id="28" name="Freihandform: Form 27">
              <a:extLst>
                <a:ext uri="{FF2B5EF4-FFF2-40B4-BE49-F238E27FC236}">
                  <a16:creationId xmlns:a16="http://schemas.microsoft.com/office/drawing/2014/main" id="{BD302B3D-6BE2-5560-2066-7499BF613222}"/>
                </a:ext>
              </a:extLst>
            </p:cNvPr>
            <p:cNvSpPr/>
            <p:nvPr/>
          </p:nvSpPr>
          <p:spPr>
            <a:xfrm>
              <a:off x="2000759" y="5314727"/>
              <a:ext cx="168739" cy="168739"/>
            </a:xfrm>
            <a:custGeom>
              <a:avLst/>
              <a:gdLst>
                <a:gd name="connsiteX0" fmla="*/ 0 w 168739"/>
                <a:gd name="connsiteY0" fmla="*/ 0 h 168739"/>
                <a:gd name="connsiteX1" fmla="*/ 168739 w 168739"/>
                <a:gd name="connsiteY1" fmla="*/ 0 h 168739"/>
                <a:gd name="connsiteX2" fmla="*/ 168739 w 168739"/>
                <a:gd name="connsiteY2" fmla="*/ 168739 h 168739"/>
                <a:gd name="connsiteX3" fmla="*/ 0 w 168739"/>
                <a:gd name="connsiteY3" fmla="*/ 168739 h 168739"/>
              </a:gdLst>
              <a:ahLst/>
              <a:cxnLst>
                <a:cxn ang="0">
                  <a:pos x="connsiteX0" y="connsiteY0"/>
                </a:cxn>
                <a:cxn ang="0">
                  <a:pos x="connsiteX1" y="connsiteY1"/>
                </a:cxn>
                <a:cxn ang="0">
                  <a:pos x="connsiteX2" y="connsiteY2"/>
                </a:cxn>
                <a:cxn ang="0">
                  <a:pos x="connsiteX3" y="connsiteY3"/>
                </a:cxn>
              </a:cxnLst>
              <a:rect l="l" t="t" r="r" b="b"/>
              <a:pathLst>
                <a:path w="168739" h="168739">
                  <a:moveTo>
                    <a:pt x="0" y="0"/>
                  </a:moveTo>
                  <a:lnTo>
                    <a:pt x="168739" y="0"/>
                  </a:lnTo>
                  <a:lnTo>
                    <a:pt x="168739" y="168739"/>
                  </a:lnTo>
                  <a:lnTo>
                    <a:pt x="0" y="168739"/>
                  </a:lnTo>
                  <a:close/>
                </a:path>
              </a:pathLst>
            </a:custGeom>
            <a:solidFill>
              <a:srgbClr val="35501E"/>
            </a:solidFill>
            <a:ln w="0" cap="flat">
              <a:noFill/>
              <a:prstDash val="solid"/>
              <a:miter/>
            </a:ln>
          </p:spPr>
          <p:txBody>
            <a:bodyPr rtlCol="0" anchor="ctr"/>
            <a:lstStyle/>
            <a:p>
              <a:endParaRPr lang="de-DE" sz="1799"/>
            </a:p>
          </p:txBody>
        </p:sp>
        <p:sp>
          <p:nvSpPr>
            <p:cNvPr id="29" name="Freihandform: Form 28">
              <a:extLst>
                <a:ext uri="{FF2B5EF4-FFF2-40B4-BE49-F238E27FC236}">
                  <a16:creationId xmlns:a16="http://schemas.microsoft.com/office/drawing/2014/main" id="{55CF3757-1015-5FB7-22C5-769C6B0673DB}"/>
                </a:ext>
              </a:extLst>
            </p:cNvPr>
            <p:cNvSpPr/>
            <p:nvPr/>
          </p:nvSpPr>
          <p:spPr>
            <a:xfrm>
              <a:off x="2000759" y="5510104"/>
              <a:ext cx="168739" cy="168739"/>
            </a:xfrm>
            <a:custGeom>
              <a:avLst/>
              <a:gdLst>
                <a:gd name="connsiteX0" fmla="*/ 0 w 168739"/>
                <a:gd name="connsiteY0" fmla="*/ 0 h 168739"/>
                <a:gd name="connsiteX1" fmla="*/ 168739 w 168739"/>
                <a:gd name="connsiteY1" fmla="*/ 0 h 168739"/>
                <a:gd name="connsiteX2" fmla="*/ 168739 w 168739"/>
                <a:gd name="connsiteY2" fmla="*/ 168739 h 168739"/>
                <a:gd name="connsiteX3" fmla="*/ 0 w 168739"/>
                <a:gd name="connsiteY3" fmla="*/ 168739 h 168739"/>
              </a:gdLst>
              <a:ahLst/>
              <a:cxnLst>
                <a:cxn ang="0">
                  <a:pos x="connsiteX0" y="connsiteY0"/>
                </a:cxn>
                <a:cxn ang="0">
                  <a:pos x="connsiteX1" y="connsiteY1"/>
                </a:cxn>
                <a:cxn ang="0">
                  <a:pos x="connsiteX2" y="connsiteY2"/>
                </a:cxn>
                <a:cxn ang="0">
                  <a:pos x="connsiteX3" y="connsiteY3"/>
                </a:cxn>
              </a:cxnLst>
              <a:rect l="l" t="t" r="r" b="b"/>
              <a:pathLst>
                <a:path w="168739" h="168739">
                  <a:moveTo>
                    <a:pt x="0" y="0"/>
                  </a:moveTo>
                  <a:lnTo>
                    <a:pt x="168739" y="0"/>
                  </a:lnTo>
                  <a:lnTo>
                    <a:pt x="168739" y="168739"/>
                  </a:lnTo>
                  <a:lnTo>
                    <a:pt x="0" y="168739"/>
                  </a:lnTo>
                  <a:close/>
                </a:path>
              </a:pathLst>
            </a:custGeom>
            <a:solidFill>
              <a:srgbClr val="869199"/>
            </a:solidFill>
            <a:ln w="0" cap="flat">
              <a:noFill/>
              <a:prstDash val="solid"/>
              <a:miter/>
            </a:ln>
          </p:spPr>
          <p:txBody>
            <a:bodyPr rtlCol="0" anchor="ctr"/>
            <a:lstStyle/>
            <a:p>
              <a:endParaRPr lang="de-DE" sz="1799"/>
            </a:p>
          </p:txBody>
        </p:sp>
      </p:grpSp>
      <p:cxnSp>
        <p:nvCxnSpPr>
          <p:cNvPr id="31" name="Gerader Verbinder 30">
            <a:extLst>
              <a:ext uri="{FF2B5EF4-FFF2-40B4-BE49-F238E27FC236}">
                <a16:creationId xmlns:a16="http://schemas.microsoft.com/office/drawing/2014/main" id="{B6237D72-6105-24AA-A405-BFD2BB28F3AF}"/>
              </a:ext>
            </a:extLst>
          </p:cNvPr>
          <p:cNvCxnSpPr>
            <a:cxnSpLocks/>
          </p:cNvCxnSpPr>
          <p:nvPr/>
        </p:nvCxnSpPr>
        <p:spPr>
          <a:xfrm>
            <a:off x="348245" y="5764617"/>
            <a:ext cx="279331" cy="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Textfeld 31">
            <a:extLst>
              <a:ext uri="{FF2B5EF4-FFF2-40B4-BE49-F238E27FC236}">
                <a16:creationId xmlns:a16="http://schemas.microsoft.com/office/drawing/2014/main" id="{DD9D3DA4-4A15-28D1-C7A5-62BF8CCE4ED4}"/>
              </a:ext>
            </a:extLst>
          </p:cNvPr>
          <p:cNvSpPr txBox="1"/>
          <p:nvPr/>
        </p:nvSpPr>
        <p:spPr>
          <a:xfrm rot="16200000">
            <a:off x="1839240" y="3126607"/>
            <a:ext cx="3825101" cy="215332"/>
          </a:xfrm>
          <a:prstGeom prst="rect">
            <a:avLst/>
          </a:prstGeom>
          <a:noFill/>
        </p:spPr>
        <p:txBody>
          <a:bodyPr wrap="square" lIns="0" tIns="0" rIns="0" bIns="0" rtlCol="0" anchor="t">
            <a:spAutoFit/>
          </a:bodyPr>
          <a:lstStyle/>
          <a:p>
            <a:r>
              <a:rPr lang="de-DE" sz="1399" err="1">
                <a:solidFill>
                  <a:srgbClr val="000000"/>
                </a:solidFill>
                <a:latin typeface="Arial" panose="020B0604020202020204" pitchFamily="34" charset="0"/>
                <a:ea typeface="Arial" panose="020B0604020202020204" pitchFamily="34" charset="0"/>
              </a:rPr>
              <a:t>District</a:t>
            </a:r>
            <a:r>
              <a:rPr lang="de-DE" sz="1399">
                <a:solidFill>
                  <a:srgbClr val="000000"/>
                </a:solidFill>
                <a:latin typeface="Arial" panose="020B0604020202020204" pitchFamily="34" charset="0"/>
                <a:ea typeface="Arial" panose="020B0604020202020204" pitchFamily="34" charset="0"/>
              </a:rPr>
              <a:t> </a:t>
            </a:r>
            <a:r>
              <a:rPr lang="de-DE" sz="1399" err="1">
                <a:solidFill>
                  <a:srgbClr val="000000"/>
                </a:solidFill>
                <a:latin typeface="Arial" panose="020B0604020202020204" pitchFamily="34" charset="0"/>
                <a:ea typeface="Arial" panose="020B0604020202020204" pitchFamily="34" charset="0"/>
              </a:rPr>
              <a:t>heating</a:t>
            </a:r>
            <a:r>
              <a:rPr lang="de-DE" sz="1399">
                <a:solidFill>
                  <a:srgbClr val="000000"/>
                </a:solidFill>
                <a:latin typeface="Arial" panose="020B0604020202020204" pitchFamily="34" charset="0"/>
                <a:ea typeface="Arial" panose="020B0604020202020204" pitchFamily="34" charset="0"/>
              </a:rPr>
              <a:t> </a:t>
            </a:r>
            <a:r>
              <a:rPr lang="de-DE" sz="1399" err="1">
                <a:solidFill>
                  <a:srgbClr val="000000"/>
                </a:solidFill>
                <a:latin typeface="Arial" panose="020B0604020202020204" pitchFamily="34" charset="0"/>
                <a:ea typeface="Arial" panose="020B0604020202020204" pitchFamily="34" charset="0"/>
              </a:rPr>
              <a:t>generation</a:t>
            </a:r>
            <a:r>
              <a:rPr lang="de-DE" sz="1399">
                <a:solidFill>
                  <a:srgbClr val="000000"/>
                </a:solidFill>
                <a:latin typeface="Arial" panose="020B0604020202020204" pitchFamily="34" charset="0"/>
                <a:ea typeface="Arial" panose="020B0604020202020204" pitchFamily="34" charset="0"/>
              </a:rPr>
              <a:t> </a:t>
            </a:r>
            <a:r>
              <a:rPr lang="de-DE" sz="1399" err="1">
                <a:solidFill>
                  <a:srgbClr val="000000"/>
                </a:solidFill>
                <a:latin typeface="Arial" panose="020B0604020202020204" pitchFamily="34" charset="0"/>
                <a:ea typeface="Arial" panose="020B0604020202020204" pitchFamily="34" charset="0"/>
              </a:rPr>
              <a:t>by</a:t>
            </a:r>
            <a:r>
              <a:rPr lang="de-DE" sz="1399">
                <a:solidFill>
                  <a:srgbClr val="000000"/>
                </a:solidFill>
                <a:latin typeface="Arial" panose="020B0604020202020204" pitchFamily="34" charset="0"/>
                <a:ea typeface="Arial" panose="020B0604020202020204" pitchFamily="34" charset="0"/>
              </a:rPr>
              <a:t> plant, TWh</a:t>
            </a:r>
            <a:endParaRPr lang="de-DE" sz="1399"/>
          </a:p>
        </p:txBody>
      </p:sp>
      <p:sp>
        <p:nvSpPr>
          <p:cNvPr id="9" name="Datumsplatzhalter 2">
            <a:extLst>
              <a:ext uri="{FF2B5EF4-FFF2-40B4-BE49-F238E27FC236}">
                <a16:creationId xmlns:a16="http://schemas.microsoft.com/office/drawing/2014/main" id="{684FD96D-3AE9-1798-F950-D739AB7A7B60}"/>
              </a:ext>
            </a:extLst>
          </p:cNvPr>
          <p:cNvSpPr txBox="1">
            <a:spLocks/>
          </p:cNvSpPr>
          <p:nvPr/>
        </p:nvSpPr>
        <p:spPr>
          <a:xfrm>
            <a:off x="865874" y="6456200"/>
            <a:ext cx="2264239" cy="14203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999">
                <a:solidFill>
                  <a:srgbClr val="738792"/>
                </a:solidFill>
                <a:latin typeface="Arial" pitchFamily="34" charset="0"/>
                <a:cs typeface="Arial" pitchFamily="34" charset="0"/>
              </a:rPr>
              <a:t>21.03.25 / Stadtwerke München</a:t>
            </a:r>
          </a:p>
        </p:txBody>
      </p:sp>
    </p:spTree>
    <p:extLst>
      <p:ext uri="{BB962C8B-B14F-4D97-AF65-F5344CB8AC3E}">
        <p14:creationId xmlns:p14="http://schemas.microsoft.com/office/powerpoint/2010/main" val="1927194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4309BD7-32BB-94FB-594B-A964EE933B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4" progId="TCLayout.ActiveDocument.1">
                  <p:embed/>
                </p:oleObj>
              </mc:Choice>
              <mc:Fallback>
                <p:oleObj name="think-cell Folie" r:id="rId4" imgW="395" imgH="394" progId="TCLayout.ActiveDocument.1">
                  <p:embed/>
                  <p:pic>
                    <p:nvPicPr>
                      <p:cNvPr id="8" name="think-cell data - do not delete" hidden="1">
                        <a:extLst>
                          <a:ext uri="{FF2B5EF4-FFF2-40B4-BE49-F238E27FC236}">
                            <a16:creationId xmlns:a16="http://schemas.microsoft.com/office/drawing/2014/main" id="{04309BD7-32BB-94FB-594B-A964EE933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AEC3E391-67A9-8A58-BC8D-866A0B45163C}"/>
              </a:ext>
            </a:extLst>
          </p:cNvPr>
          <p:cNvSpPr>
            <a:spLocks noGrp="1"/>
          </p:cNvSpPr>
          <p:nvPr>
            <p:ph type="body" sz="quarter" idx="10"/>
          </p:nvPr>
        </p:nvSpPr>
        <p:spPr/>
        <p:txBody>
          <a:bodyPr/>
          <a:lstStyle/>
          <a:p>
            <a:r>
              <a:rPr lang="de-DE"/>
              <a:t>District heating transformation plan</a:t>
            </a:r>
          </a:p>
        </p:txBody>
      </p:sp>
      <p:graphicFrame>
        <p:nvGraphicFramePr>
          <p:cNvPr id="5" name="Inhaltsplatzhalter 4">
            <a:extLst>
              <a:ext uri="{FF2B5EF4-FFF2-40B4-BE49-F238E27FC236}">
                <a16:creationId xmlns:a16="http://schemas.microsoft.com/office/drawing/2014/main" id="{AB0F7723-5E4D-2FB4-4B1A-4F71D5A3DECF}"/>
              </a:ext>
            </a:extLst>
          </p:cNvPr>
          <p:cNvGraphicFramePr>
            <a:graphicFrameLocks noGrp="1"/>
          </p:cNvGraphicFramePr>
          <p:nvPr>
            <p:ph sz="quarter" idx="11"/>
            <p:extLst>
              <p:ext uri="{D42A27DB-BD31-4B8C-83A1-F6EECF244321}">
                <p14:modId xmlns:p14="http://schemas.microsoft.com/office/powerpoint/2010/main" val="3359665202"/>
              </p:ext>
            </p:extLst>
          </p:nvPr>
        </p:nvGraphicFramePr>
        <p:xfrm>
          <a:off x="339725" y="1305560"/>
          <a:ext cx="9497694" cy="4781334"/>
        </p:xfrm>
        <a:graphic>
          <a:graphicData uri="http://schemas.openxmlformats.org/drawingml/2006/table">
            <a:tbl>
              <a:tblPr/>
              <a:tblGrid>
                <a:gridCol w="2268403">
                  <a:extLst>
                    <a:ext uri="{9D8B030D-6E8A-4147-A177-3AD203B41FA5}">
                      <a16:colId xmlns:a16="http://schemas.microsoft.com/office/drawing/2014/main" val="2943914063"/>
                    </a:ext>
                  </a:extLst>
                </a:gridCol>
                <a:gridCol w="2621182">
                  <a:extLst>
                    <a:ext uri="{9D8B030D-6E8A-4147-A177-3AD203B41FA5}">
                      <a16:colId xmlns:a16="http://schemas.microsoft.com/office/drawing/2014/main" val="190085850"/>
                    </a:ext>
                  </a:extLst>
                </a:gridCol>
                <a:gridCol w="3326385">
                  <a:extLst>
                    <a:ext uri="{9D8B030D-6E8A-4147-A177-3AD203B41FA5}">
                      <a16:colId xmlns:a16="http://schemas.microsoft.com/office/drawing/2014/main" val="464420380"/>
                    </a:ext>
                  </a:extLst>
                </a:gridCol>
                <a:gridCol w="1281724">
                  <a:extLst>
                    <a:ext uri="{9D8B030D-6E8A-4147-A177-3AD203B41FA5}">
                      <a16:colId xmlns:a16="http://schemas.microsoft.com/office/drawing/2014/main" val="2660758815"/>
                    </a:ext>
                  </a:extLst>
                </a:gridCol>
              </a:tblGrid>
              <a:tr h="504340">
                <a:tc>
                  <a:txBody>
                    <a:bodyPr/>
                    <a:lstStyle/>
                    <a:p>
                      <a:pPr algn="l" fontAlgn="t"/>
                      <a:endParaRPr lang="de-DE" sz="1300">
                        <a:effectLst/>
                      </a:endParaRPr>
                    </a:p>
                    <a:p>
                      <a:pPr algn="l" rtl="0" fontAlgn="base"/>
                      <a:r>
                        <a:rPr lang="de-DE" sz="1000" b="1" i="0">
                          <a:solidFill>
                            <a:srgbClr val="FFFFFF"/>
                          </a:solidFill>
                          <a:effectLst/>
                          <a:latin typeface="Arial"/>
                        </a:rPr>
                        <a:t>(all figures refer to </a:t>
                      </a:r>
                      <a:br>
                        <a:rPr lang="de-DE" sz="1000" b="1" i="0">
                          <a:solidFill>
                            <a:srgbClr val="FFFFFF"/>
                          </a:solidFill>
                          <a:effectLst/>
                          <a:latin typeface="Arial"/>
                        </a:rPr>
                      </a:br>
                      <a:r>
                        <a:rPr lang="de-DE" sz="1000" b="1" i="0">
                          <a:solidFill>
                            <a:srgbClr val="FFFFFF"/>
                          </a:solidFill>
                          <a:effectLst/>
                          <a:latin typeface="Arial"/>
                        </a:rPr>
                        <a:t>to district heating</a:t>
                      </a:r>
                      <a:r>
                        <a:rPr lang="de-DE" sz="1000" b="0" i="0">
                          <a:solidFill>
                            <a:srgbClr val="FFFFFF"/>
                          </a:solidFill>
                          <a:effectLst/>
                          <a:latin typeface="Arial"/>
                        </a:rPr>
                        <a:t>) </a:t>
                      </a:r>
                      <a:endParaRPr lang="de-DE" sz="1000" b="0" i="0">
                        <a:solidFill>
                          <a:srgbClr val="000000"/>
                        </a:solidFill>
                        <a:effectLst/>
                        <a:latin typeface="Arial"/>
                      </a:endParaRP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1C5394"/>
                    </a:solidFill>
                  </a:tcPr>
                </a:tc>
                <a:tc>
                  <a:txBody>
                    <a:bodyPr/>
                    <a:lstStyle/>
                    <a:p>
                      <a:pPr algn="l" fontAlgn="t"/>
                      <a:endParaRPr lang="de-DE" sz="1000">
                        <a:effectLst/>
                      </a:endParaRPr>
                    </a:p>
                    <a:p>
                      <a:pPr algn="l" rtl="0" fontAlgn="base"/>
                      <a:r>
                        <a:rPr lang="de-DE" sz="1200" b="1" i="0">
                          <a:solidFill>
                            <a:srgbClr val="FFFFFF"/>
                          </a:solidFill>
                          <a:effectLst/>
                          <a:latin typeface="Arial"/>
                        </a:rPr>
                        <a:t>Current status </a:t>
                      </a:r>
                      <a:endParaRPr lang="de-DE" sz="1200" b="1" i="0">
                        <a:solidFill>
                          <a:srgbClr val="000000"/>
                        </a:solidFill>
                        <a:effectLst/>
                        <a:latin typeface="Arial"/>
                      </a:endParaRP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1C5394"/>
                    </a:solidFill>
                  </a:tcPr>
                </a:tc>
                <a:tc>
                  <a:txBody>
                    <a:bodyPr/>
                    <a:lstStyle/>
                    <a:p>
                      <a:pPr algn="l" fontAlgn="t"/>
                      <a:br>
                        <a:rPr lang="de-DE" sz="1200" b="1" i="0">
                          <a:solidFill>
                            <a:srgbClr val="FFFFFF"/>
                          </a:solidFill>
                          <a:effectLst/>
                          <a:latin typeface="Arial"/>
                        </a:rPr>
                      </a:br>
                      <a:r>
                        <a:rPr lang="de-DE" sz="1200" b="1" i="0">
                          <a:solidFill>
                            <a:srgbClr val="FFFFFF"/>
                          </a:solidFill>
                          <a:effectLst/>
                          <a:latin typeface="Arial"/>
                        </a:rPr>
                        <a:t>Target 2045 </a:t>
                      </a:r>
                      <a:r>
                        <a:rPr lang="de-DE" sz="1200" b="0" i="0">
                          <a:solidFill>
                            <a:srgbClr val="FFFFFF"/>
                          </a:solidFill>
                          <a:effectLst/>
                          <a:latin typeface="Arial"/>
                        </a:rPr>
                        <a:t>(according to transformation plan) </a:t>
                      </a:r>
                      <a:endParaRPr lang="de-DE" sz="1200" b="0" i="0">
                        <a:solidFill>
                          <a:srgbClr val="000000"/>
                        </a:solidFill>
                        <a:effectLst/>
                        <a:latin typeface="Arial"/>
                      </a:endParaRP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1C5394"/>
                    </a:solidFill>
                  </a:tcPr>
                </a:tc>
                <a:tc>
                  <a:txBody>
                    <a:bodyPr/>
                    <a:lstStyle/>
                    <a:p>
                      <a:pPr algn="l" fontAlgn="t"/>
                      <a:br>
                        <a:rPr lang="de-DE" sz="1200" b="1" i="0" dirty="0">
                          <a:solidFill>
                            <a:srgbClr val="FFFFFF"/>
                          </a:solidFill>
                          <a:effectLst/>
                          <a:latin typeface="Arial"/>
                        </a:rPr>
                      </a:br>
                      <a:r>
                        <a:rPr lang="de-DE" sz="1200" b="1" i="0" dirty="0">
                          <a:solidFill>
                            <a:srgbClr val="FFFFFF"/>
                          </a:solidFill>
                          <a:effectLst/>
                          <a:latin typeface="Arial"/>
                        </a:rPr>
                        <a:t>Delta </a:t>
                      </a:r>
                      <a:endParaRPr lang="de-DE" sz="1200" b="1" i="0" dirty="0">
                        <a:solidFill>
                          <a:srgbClr val="000000"/>
                        </a:solidFill>
                        <a:effectLst/>
                        <a:latin typeface="Arial"/>
                      </a:endParaRP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1C5394"/>
                    </a:solidFill>
                  </a:tcPr>
                </a:tc>
                <a:extLst>
                  <a:ext uri="{0D108BD9-81ED-4DB2-BD59-A6C34878D82A}">
                    <a16:rowId xmlns:a16="http://schemas.microsoft.com/office/drawing/2014/main" val="1922833851"/>
                  </a:ext>
                </a:extLst>
              </a:tr>
              <a:tr h="504340">
                <a:tc>
                  <a:txBody>
                    <a:bodyPr/>
                    <a:lstStyle/>
                    <a:p>
                      <a:pPr algn="l" fontAlgn="t"/>
                      <a:endParaRPr lang="de-DE" sz="1000" b="1">
                        <a:effectLst/>
                      </a:endParaRPr>
                    </a:p>
                    <a:p>
                      <a:pPr algn="l" rtl="0" fontAlgn="base"/>
                      <a:r>
                        <a:rPr lang="de-DE" sz="1200" b="1" i="0">
                          <a:solidFill>
                            <a:srgbClr val="000000"/>
                          </a:solidFill>
                          <a:effectLst/>
                          <a:latin typeface="Arial"/>
                        </a:rPr>
                        <a:t>Heat sales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200" dirty="0">
                        <a:effectLst/>
                      </a:endParaRPr>
                    </a:p>
                    <a:p>
                      <a:pPr algn="l" rtl="0" fontAlgn="base"/>
                      <a:r>
                        <a:rPr lang="de-DE" sz="1200" b="0" i="0" dirty="0" err="1">
                          <a:solidFill>
                            <a:srgbClr val="000000"/>
                          </a:solidFill>
                          <a:effectLst/>
                          <a:latin typeface="Arial"/>
                        </a:rPr>
                        <a:t>approx</a:t>
                      </a:r>
                      <a:r>
                        <a:rPr lang="de-DE" sz="1200" b="0" i="0" dirty="0">
                          <a:solidFill>
                            <a:srgbClr val="000000"/>
                          </a:solidFill>
                          <a:effectLst/>
                          <a:latin typeface="Arial"/>
                        </a:rPr>
                        <a:t>. 4.4 TWh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approx. 5.8 TWh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32 %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133890792"/>
                  </a:ext>
                </a:extLst>
              </a:tr>
              <a:tr h="378255">
                <a:tc>
                  <a:txBody>
                    <a:bodyPr/>
                    <a:lstStyle/>
                    <a:p>
                      <a:pPr algn="l" fontAlgn="t"/>
                      <a:endParaRPr lang="de-DE" sz="1000" b="1">
                        <a:effectLst/>
                      </a:endParaRPr>
                    </a:p>
                    <a:p>
                      <a:pPr algn="l" rtl="0" fontAlgn="base"/>
                      <a:r>
                        <a:rPr lang="de-DE" sz="1200" b="1" i="0">
                          <a:solidFill>
                            <a:srgbClr val="000000"/>
                          </a:solidFill>
                          <a:effectLst/>
                          <a:latin typeface="Arial"/>
                        </a:rPr>
                        <a:t>Peak load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approx. 1.9 </a:t>
                      </a:r>
                      <a:r>
                        <a:rPr lang="de-DE" sz="1000" b="0" i="0">
                          <a:solidFill>
                            <a:srgbClr val="000000"/>
                          </a:solidFill>
                          <a:effectLst/>
                          <a:latin typeface="Arial"/>
                        </a:rPr>
                        <a:t>GW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200" dirty="0">
                        <a:effectLst/>
                      </a:endParaRPr>
                    </a:p>
                    <a:p>
                      <a:pPr algn="l" rtl="0" fontAlgn="base"/>
                      <a:r>
                        <a:rPr lang="de-DE" sz="1200" b="0" i="0" dirty="0" err="1">
                          <a:solidFill>
                            <a:srgbClr val="000000"/>
                          </a:solidFill>
                          <a:effectLst/>
                          <a:latin typeface="Arial"/>
                        </a:rPr>
                        <a:t>approx</a:t>
                      </a:r>
                      <a:r>
                        <a:rPr lang="de-DE" sz="1200" b="0" i="0" dirty="0">
                          <a:solidFill>
                            <a:srgbClr val="000000"/>
                          </a:solidFill>
                          <a:effectLst/>
                          <a:latin typeface="Arial"/>
                        </a:rPr>
                        <a:t>. 2.7 </a:t>
                      </a:r>
                      <a:r>
                        <a:rPr lang="de-DE" sz="1000" b="0" i="0" dirty="0">
                          <a:solidFill>
                            <a:srgbClr val="000000"/>
                          </a:solidFill>
                          <a:effectLst/>
                          <a:latin typeface="Arial"/>
                        </a:rPr>
                        <a:t>GW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42 %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894497619"/>
                  </a:ext>
                </a:extLst>
              </a:tr>
              <a:tr h="865786">
                <a:tc>
                  <a:txBody>
                    <a:bodyPr/>
                    <a:lstStyle/>
                    <a:p>
                      <a:pPr algn="l" fontAlgn="t"/>
                      <a:endParaRPr lang="de-DE" sz="1200" b="1">
                        <a:effectLst/>
                      </a:endParaRPr>
                    </a:p>
                    <a:p>
                      <a:pPr algn="l" rtl="0" fontAlgn="base"/>
                      <a:r>
                        <a:rPr lang="de-DE" sz="1200" b="1" i="0">
                          <a:solidFill>
                            <a:srgbClr val="000000"/>
                          </a:solidFill>
                          <a:effectLst/>
                          <a:latin typeface="Arial"/>
                        </a:rPr>
                        <a:t>Number of geothermal plants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15 wells with approx. 185 </a:t>
                      </a:r>
                      <a:r>
                        <a:rPr lang="de-DE" sz="1200" b="0" i="0" err="1">
                          <a:solidFill>
                            <a:srgbClr val="000000"/>
                          </a:solidFill>
                          <a:effectLst/>
                          <a:latin typeface="Arial"/>
                        </a:rPr>
                        <a:t>MW</a:t>
                      </a:r>
                      <a:r>
                        <a:rPr lang="de-DE" sz="1200" b="0" i="0" baseline="-25000" err="1">
                          <a:solidFill>
                            <a:srgbClr val="000000"/>
                          </a:solidFill>
                          <a:effectLst/>
                          <a:latin typeface="Arial"/>
                        </a:rPr>
                        <a:t>th</a:t>
                      </a:r>
                      <a:r>
                        <a:rPr lang="de-DE" sz="1200" b="0" i="0" baseline="-25000">
                          <a:solidFill>
                            <a:srgbClr val="000000"/>
                          </a:solidFill>
                          <a:effectLst/>
                          <a:latin typeface="Arial"/>
                        </a:rPr>
                        <a:t> </a:t>
                      </a:r>
                      <a:br>
                        <a:rPr lang="de-DE" sz="1200" b="0" i="0" baseline="-25000">
                          <a:solidFill>
                            <a:srgbClr val="000000"/>
                          </a:solidFill>
                          <a:effectLst/>
                          <a:latin typeface="Arial"/>
                        </a:rPr>
                      </a:br>
                      <a:r>
                        <a:rPr lang="de-DE" sz="1200" b="0" i="0">
                          <a:solidFill>
                            <a:srgbClr val="000000"/>
                          </a:solidFill>
                          <a:effectLst/>
                          <a:latin typeface="Arial"/>
                        </a:rPr>
                        <a:t>(without Riem)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gt; 65 wells with max. 800 </a:t>
                      </a:r>
                      <a:r>
                        <a:rPr lang="de-DE" sz="1200" b="0" i="0" err="1">
                          <a:solidFill>
                            <a:srgbClr val="000000"/>
                          </a:solidFill>
                          <a:effectLst/>
                          <a:latin typeface="Arial"/>
                        </a:rPr>
                        <a:t>MW</a:t>
                      </a:r>
                      <a:r>
                        <a:rPr lang="de-DE" sz="1200" b="0" i="0" baseline="-25000" err="1">
                          <a:solidFill>
                            <a:srgbClr val="000000"/>
                          </a:solidFill>
                          <a:effectLst/>
                          <a:latin typeface="Arial"/>
                        </a:rPr>
                        <a:t>th</a:t>
                      </a:r>
                      <a:r>
                        <a:rPr lang="de-DE" sz="1200" b="0" i="0" baseline="-25000">
                          <a:solidFill>
                            <a:srgbClr val="000000"/>
                          </a:solidFill>
                          <a:effectLst/>
                          <a:latin typeface="Arial"/>
                        </a:rPr>
                        <a:t> </a:t>
                      </a:r>
                      <a:br>
                        <a:rPr lang="de-DE" sz="1200" b="0" i="0" baseline="-25000">
                          <a:solidFill>
                            <a:srgbClr val="000000"/>
                          </a:solidFill>
                          <a:effectLst/>
                          <a:latin typeface="Arial"/>
                        </a:rPr>
                      </a:br>
                      <a:r>
                        <a:rPr lang="de-DE" sz="1200" b="0" i="0">
                          <a:solidFill>
                            <a:srgbClr val="000000"/>
                          </a:solidFill>
                          <a:effectLst/>
                          <a:latin typeface="Arial"/>
                        </a:rPr>
                        <a:t>(without Riem) incl. the requirements of co-operation partners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330 %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275499951"/>
                  </a:ext>
                </a:extLst>
              </a:tr>
              <a:tr h="504340">
                <a:tc>
                  <a:txBody>
                    <a:bodyPr/>
                    <a:lstStyle/>
                    <a:p>
                      <a:pPr algn="l" fontAlgn="t"/>
                      <a:endParaRPr lang="de-DE" sz="1000" b="1">
                        <a:effectLst/>
                      </a:endParaRPr>
                    </a:p>
                    <a:p>
                      <a:pPr algn="l" rtl="0" fontAlgn="base"/>
                      <a:r>
                        <a:rPr lang="de-DE" sz="1200" b="1" i="0">
                          <a:solidFill>
                            <a:srgbClr val="000000"/>
                          </a:solidFill>
                          <a:effectLst/>
                          <a:latin typeface="Arial"/>
                        </a:rPr>
                        <a:t>Number of heat pumps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000" b="0" i="0">
                          <a:solidFill>
                            <a:srgbClr val="000000"/>
                          </a:solidFill>
                          <a:effectLst/>
                          <a:latin typeface="Arial"/>
                        </a:rPr>
                        <a:t>-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Up to 10 systems with max. 0.5 </a:t>
                      </a:r>
                      <a:r>
                        <a:rPr lang="de-DE" sz="1200" b="0" i="0" err="1">
                          <a:solidFill>
                            <a:srgbClr val="000000"/>
                          </a:solidFill>
                          <a:effectLst/>
                          <a:latin typeface="Arial"/>
                        </a:rPr>
                        <a:t>GW </a:t>
                      </a:r>
                      <a:r>
                        <a:rPr lang="de-DE" sz="1200" b="0" i="0" baseline="-25000" err="1">
                          <a:solidFill>
                            <a:srgbClr val="000000"/>
                          </a:solidFill>
                          <a:effectLst/>
                          <a:latin typeface="Arial"/>
                        </a:rPr>
                        <a:t>th</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000" b="0" i="0">
                          <a:solidFill>
                            <a:srgbClr val="000000"/>
                          </a:solidFill>
                          <a:effectLst/>
                          <a:latin typeface="Arial"/>
                        </a:rPr>
                        <a:t>-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907830560"/>
                  </a:ext>
                </a:extLst>
              </a:tr>
              <a:tr h="975056">
                <a:tc>
                  <a:txBody>
                    <a:bodyPr/>
                    <a:lstStyle/>
                    <a:p>
                      <a:pPr algn="l" fontAlgn="t"/>
                      <a:endParaRPr lang="de-DE" sz="1200" b="1">
                        <a:effectLst/>
                      </a:endParaRPr>
                    </a:p>
                    <a:p>
                      <a:pPr algn="l" rtl="0" fontAlgn="base"/>
                      <a:r>
                        <a:rPr lang="de-DE" sz="1200" b="1" i="0">
                          <a:solidFill>
                            <a:srgbClr val="000000"/>
                          </a:solidFill>
                          <a:effectLst/>
                          <a:latin typeface="Arial"/>
                        </a:rPr>
                        <a:t>Further information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gridSpan="3">
                  <a:txBody>
                    <a:bodyPr/>
                    <a:lstStyle/>
                    <a:p>
                      <a:pPr algn="l" fontAlgn="t"/>
                      <a:endParaRPr lang="de-DE" sz="1000">
                        <a:effectLst/>
                      </a:endParaRPr>
                    </a:p>
                    <a:p>
                      <a:pPr algn="l" rtl="0" fontAlgn="base"/>
                      <a:r>
                        <a:rPr lang="de-DE" sz="1200" b="0" i="0">
                          <a:solidFill>
                            <a:srgbClr val="000000"/>
                          </a:solidFill>
                          <a:effectLst/>
                          <a:latin typeface="Arial"/>
                        </a:rPr>
                        <a:t>Two biomass CHP plants, downstream plants for thermal waste treatment including CO</a:t>
                      </a:r>
                      <a:r>
                        <a:rPr lang="de-DE" sz="1200" b="0" i="0" baseline="-25000">
                          <a:solidFill>
                            <a:srgbClr val="000000"/>
                          </a:solidFill>
                          <a:effectLst/>
                          <a:latin typeface="Arial"/>
                        </a:rPr>
                        <a:t>2</a:t>
                      </a:r>
                      <a:r>
                        <a:rPr lang="de-DE" sz="1200" b="0" i="0">
                          <a:solidFill>
                            <a:srgbClr val="000000"/>
                          </a:solidFill>
                          <a:effectLst/>
                          <a:latin typeface="Arial"/>
                        </a:rPr>
                        <a:t> separation, H</a:t>
                      </a:r>
                      <a:r>
                        <a:rPr lang="de-DE" sz="1200" b="0" i="0" baseline="-25000">
                          <a:solidFill>
                            <a:srgbClr val="000000"/>
                          </a:solidFill>
                          <a:effectLst/>
                          <a:latin typeface="Arial"/>
                        </a:rPr>
                        <a:t>2</a:t>
                      </a:r>
                      <a:r>
                        <a:rPr lang="de-DE" sz="1200" b="0" i="0">
                          <a:solidFill>
                            <a:srgbClr val="000000"/>
                          </a:solidFill>
                          <a:effectLst/>
                          <a:latin typeface="Arial"/>
                        </a:rPr>
                        <a:t> conversion of existing plants, six heat transfer stations and expansion of new booster stations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5579426"/>
                  </a:ext>
                </a:extLst>
              </a:tr>
              <a:tr h="504340">
                <a:tc>
                  <a:txBody>
                    <a:bodyPr/>
                    <a:lstStyle/>
                    <a:p>
                      <a:pPr algn="l" fontAlgn="t"/>
                      <a:endParaRPr lang="de-DE" sz="1200" b="1">
                        <a:effectLst/>
                      </a:endParaRPr>
                    </a:p>
                    <a:p>
                      <a:pPr algn="l" rtl="0" fontAlgn="base"/>
                      <a:r>
                        <a:rPr lang="de-DE" sz="1200" b="1" i="0">
                          <a:solidFill>
                            <a:srgbClr val="000000"/>
                          </a:solidFill>
                          <a:effectLst/>
                          <a:latin typeface="Arial"/>
                        </a:rPr>
                        <a:t>Route length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200">
                        <a:effectLst/>
                      </a:endParaRPr>
                    </a:p>
                    <a:p>
                      <a:pPr algn="l" rtl="0" fontAlgn="base"/>
                      <a:r>
                        <a:rPr lang="de-DE" sz="1200" b="0" i="0">
                          <a:solidFill>
                            <a:srgbClr val="000000"/>
                          </a:solidFill>
                          <a:effectLst/>
                          <a:latin typeface="Arial"/>
                        </a:rPr>
                        <a:t>approx. 1,000 km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approx. 1,600 km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000">
                        <a:effectLst/>
                      </a:endParaRPr>
                    </a:p>
                    <a:p>
                      <a:pPr algn="l" rtl="0" fontAlgn="base"/>
                      <a:r>
                        <a:rPr lang="de-DE" sz="1200" b="0" i="0">
                          <a:solidFill>
                            <a:srgbClr val="000000"/>
                          </a:solidFill>
                          <a:effectLst/>
                          <a:latin typeface="Arial"/>
                        </a:rPr>
                        <a:t>+60 %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114323581"/>
                  </a:ext>
                </a:extLst>
              </a:tr>
              <a:tr h="378255">
                <a:tc>
                  <a:txBody>
                    <a:bodyPr/>
                    <a:lstStyle/>
                    <a:p>
                      <a:pPr algn="l" fontAlgn="t"/>
                      <a:endParaRPr lang="de-DE" sz="1200" b="1">
                        <a:effectLst/>
                      </a:endParaRPr>
                    </a:p>
                    <a:p>
                      <a:pPr algn="l" rtl="0" fontAlgn="base"/>
                      <a:r>
                        <a:rPr lang="de-DE" sz="1200" b="1" i="0">
                          <a:solidFill>
                            <a:srgbClr val="000000"/>
                          </a:solidFill>
                          <a:effectLst/>
                          <a:latin typeface="Arial"/>
                        </a:rPr>
                        <a:t>Customer connections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200">
                        <a:effectLst/>
                      </a:endParaRPr>
                    </a:p>
                    <a:p>
                      <a:pPr algn="l" rtl="0" fontAlgn="base"/>
                      <a:r>
                        <a:rPr lang="de-DE" sz="1200" b="0" i="0">
                          <a:solidFill>
                            <a:srgbClr val="000000"/>
                          </a:solidFill>
                          <a:effectLst/>
                          <a:latin typeface="Arial"/>
                        </a:rPr>
                        <a:t>approx. 3.2 GW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200">
                        <a:effectLst/>
                      </a:endParaRPr>
                    </a:p>
                    <a:p>
                      <a:pPr algn="l" rtl="0" fontAlgn="base"/>
                      <a:r>
                        <a:rPr lang="de-DE" sz="1200" b="0" i="0">
                          <a:solidFill>
                            <a:srgbClr val="000000"/>
                          </a:solidFill>
                          <a:effectLst/>
                          <a:latin typeface="Arial"/>
                        </a:rPr>
                        <a:t>approx. 5.0 GW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tc>
                  <a:txBody>
                    <a:bodyPr/>
                    <a:lstStyle/>
                    <a:p>
                      <a:pPr algn="l" fontAlgn="t"/>
                      <a:endParaRPr lang="de-DE" sz="1200" dirty="0">
                        <a:effectLst/>
                      </a:endParaRPr>
                    </a:p>
                    <a:p>
                      <a:pPr algn="l" rtl="0" fontAlgn="base"/>
                      <a:r>
                        <a:rPr lang="de-DE" sz="1200" b="0" i="0" dirty="0">
                          <a:solidFill>
                            <a:srgbClr val="000000"/>
                          </a:solidFill>
                          <a:effectLst/>
                          <a:latin typeface="Arial"/>
                        </a:rPr>
                        <a:t>+56% </a:t>
                      </a:r>
                    </a:p>
                  </a:txBody>
                  <a:tcPr marL="64343" marR="64343" marT="32172" marB="32172">
                    <a:lnL w="15240" cap="flat" cmpd="sng" algn="ctr">
                      <a:solidFill>
                        <a:srgbClr val="FFFFFF"/>
                      </a:solidFill>
                      <a:prstDash val="solid"/>
                      <a:round/>
                      <a:headEnd type="none" w="med" len="med"/>
                      <a:tailEnd type="none" w="med" len="med"/>
                    </a:lnL>
                    <a:lnR w="15240" cap="flat" cmpd="sng" algn="ctr">
                      <a:solidFill>
                        <a:srgbClr val="FFFFFF"/>
                      </a:solidFill>
                      <a:prstDash val="solid"/>
                      <a:round/>
                      <a:headEnd type="none" w="med" len="med"/>
                      <a:tailEnd type="none" w="med" len="med"/>
                    </a:lnR>
                    <a:lnT w="15240" cap="flat" cmpd="sng" algn="ctr">
                      <a:solidFill>
                        <a:srgbClr val="FFFFFF"/>
                      </a:solidFill>
                      <a:prstDash val="solid"/>
                      <a:round/>
                      <a:headEnd type="none" w="med" len="med"/>
                      <a:tailEnd type="none" w="med" len="med"/>
                    </a:lnT>
                    <a:lnB w="1524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655647295"/>
                  </a:ext>
                </a:extLst>
              </a:tr>
            </a:tbl>
          </a:graphicData>
        </a:graphic>
      </p:graphicFrame>
      <p:sp>
        <p:nvSpPr>
          <p:cNvPr id="7" name="Titel 6">
            <a:extLst>
              <a:ext uri="{FF2B5EF4-FFF2-40B4-BE49-F238E27FC236}">
                <a16:creationId xmlns:a16="http://schemas.microsoft.com/office/drawing/2014/main" id="{7458D77A-CBF5-ECAF-FD85-4633DC9C4472}"/>
              </a:ext>
            </a:extLst>
          </p:cNvPr>
          <p:cNvSpPr>
            <a:spLocks noGrp="1"/>
          </p:cNvSpPr>
          <p:nvPr>
            <p:ph type="title"/>
          </p:nvPr>
        </p:nvSpPr>
        <p:spPr/>
        <p:txBody>
          <a:bodyPr/>
          <a:lstStyle/>
          <a:p>
            <a:r>
              <a:rPr lang="de-DE" dirty="0" err="1"/>
              <a:t>Planned</a:t>
            </a:r>
            <a:r>
              <a:rPr lang="de-DE" dirty="0"/>
              <a:t> </a:t>
            </a:r>
            <a:r>
              <a:rPr lang="de-DE" dirty="0" err="1"/>
              <a:t>measures</a:t>
            </a:r>
            <a:r>
              <a:rPr lang="de-DE" dirty="0"/>
              <a:t> in </a:t>
            </a:r>
            <a:r>
              <a:rPr lang="de-DE" dirty="0" err="1"/>
              <a:t>the</a:t>
            </a:r>
            <a:r>
              <a:rPr lang="de-DE" dirty="0"/>
              <a:t> </a:t>
            </a:r>
            <a:r>
              <a:rPr lang="de-DE" dirty="0" err="1"/>
              <a:t>district</a:t>
            </a:r>
            <a:r>
              <a:rPr lang="de-DE" dirty="0"/>
              <a:t> </a:t>
            </a:r>
            <a:r>
              <a:rPr lang="de-DE" dirty="0" err="1"/>
              <a:t>heating</a:t>
            </a:r>
            <a:r>
              <a:rPr lang="de-DE" dirty="0"/>
              <a:t> </a:t>
            </a:r>
            <a:r>
              <a:rPr lang="de-DE" dirty="0" err="1"/>
              <a:t>transformation</a:t>
            </a:r>
            <a:r>
              <a:rPr lang="de-DE" dirty="0"/>
              <a:t> plan</a:t>
            </a:r>
          </a:p>
        </p:txBody>
      </p:sp>
      <p:sp>
        <p:nvSpPr>
          <p:cNvPr id="3" name="Datumsplatzhalter 2">
            <a:extLst>
              <a:ext uri="{FF2B5EF4-FFF2-40B4-BE49-F238E27FC236}">
                <a16:creationId xmlns:a16="http://schemas.microsoft.com/office/drawing/2014/main" id="{0E15D304-36C2-AF8C-830A-0DBDD7C479C7}"/>
              </a:ext>
            </a:extLst>
          </p:cNvPr>
          <p:cNvSpPr>
            <a:spLocks noGrp="1"/>
          </p:cNvSpPr>
          <p:nvPr>
            <p:ph type="dt" sz="half" idx="12"/>
          </p:nvPr>
        </p:nvSpPr>
        <p:spPr>
          <a:xfrm>
            <a:off x="930222" y="6509589"/>
            <a:ext cx="2369237" cy="15388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21</a:t>
            </a:r>
            <a:r>
              <a:rPr kumimoji="0" lang="de-DE" sz="999" b="0" i="0" u="none" strike="noStrike" kern="1200" cap="none" spc="0" normalizeH="0" baseline="0" noProof="0" dirty="0">
                <a:ln>
                  <a:noFill/>
                </a:ln>
                <a:solidFill>
                  <a:srgbClr val="738792"/>
                </a:solidFill>
                <a:effectLst/>
                <a:uLnTx/>
                <a:uFillTx/>
                <a:latin typeface="Arial" pitchFamily="34" charset="0"/>
                <a:ea typeface="+mn-ea"/>
                <a:cs typeface="Arial" pitchFamily="34" charset="0"/>
              </a:rPr>
              <a:t>.03.25 / Stadtwerke München</a:t>
            </a:r>
          </a:p>
        </p:txBody>
      </p:sp>
      <p:sp>
        <p:nvSpPr>
          <p:cNvPr id="11" name="Foliennummernplatzhalter 10">
            <a:extLst>
              <a:ext uri="{FF2B5EF4-FFF2-40B4-BE49-F238E27FC236}">
                <a16:creationId xmlns:a16="http://schemas.microsoft.com/office/drawing/2014/main" id="{7A2908EF-2659-2C37-2F76-5A1D9C76674C}"/>
              </a:ext>
            </a:extLst>
          </p:cNvPr>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BA819CD-7F2C-4EE9-B3FF-8A96496FF90D}" type="slidenum">
              <a:rPr kumimoji="0" lang="de-DE" sz="999" b="0" i="0" u="none" strike="noStrike" kern="1200" cap="none" spc="0" normalizeH="0" baseline="0" noProof="0" smtClean="0">
                <a:ln>
                  <a:noFill/>
                </a:ln>
                <a:solidFill>
                  <a:srgbClr val="738792"/>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e-DE" sz="999" b="0" i="0" u="none" strike="noStrike" kern="1200" cap="none" spc="0" normalizeH="0" baseline="0" noProof="0">
              <a:ln>
                <a:noFill/>
              </a:ln>
              <a:solidFill>
                <a:srgbClr val="738792"/>
              </a:solidFill>
              <a:effectLst/>
              <a:uLnTx/>
              <a:uFillTx/>
              <a:latin typeface="Arial" pitchFamily="34" charset="0"/>
              <a:ea typeface="+mn-ea"/>
              <a:cs typeface="Arial" pitchFamily="34" charset="0"/>
            </a:endParaRPr>
          </a:p>
        </p:txBody>
      </p:sp>
      <p:sp>
        <p:nvSpPr>
          <p:cNvPr id="9" name="Textfeld 8">
            <a:extLst>
              <a:ext uri="{FF2B5EF4-FFF2-40B4-BE49-F238E27FC236}">
                <a16:creationId xmlns:a16="http://schemas.microsoft.com/office/drawing/2014/main" id="{81A05B70-FFF9-473E-738A-0E2E985CF53E}"/>
              </a:ext>
            </a:extLst>
          </p:cNvPr>
          <p:cNvSpPr txBox="1"/>
          <p:nvPr/>
        </p:nvSpPr>
        <p:spPr>
          <a:xfrm>
            <a:off x="416152" y="6076876"/>
            <a:ext cx="6653812"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1" u="none" strike="noStrike" kern="1200" cap="none" spc="0" normalizeH="0" baseline="0" noProof="0">
                <a:ln>
                  <a:noFill/>
                </a:ln>
                <a:solidFill>
                  <a:srgbClr val="44546A"/>
                </a:solidFill>
                <a:effectLst/>
                <a:uLnTx/>
                <a:uFillTx/>
                <a:latin typeface="Arial" panose="020B0604020202020204" pitchFamily="34" charset="0"/>
                <a:ea typeface="+mn-ea"/>
                <a:cs typeface="+mn-cs"/>
              </a:rPr>
              <a:t>Heat quantities and network lengths for district heating today and up to 2045 </a:t>
            </a:r>
            <a:endParaRPr kumimoji="0" lang="de-DE" sz="800" b="0" i="0" u="none" strike="noStrike" kern="1200" cap="none" spc="0" normalizeH="0" baseline="0" noProof="0">
              <a:ln>
                <a:noFill/>
              </a:ln>
              <a:solidFill>
                <a:prstClr val="black"/>
              </a:solidFill>
              <a:effectLst/>
              <a:uLnTx/>
              <a:uFillTx/>
              <a:latin typeface="Arial"/>
              <a:ea typeface="+mn-ea"/>
              <a:cs typeface="+mn-cs"/>
            </a:endParaRPr>
          </a:p>
        </p:txBody>
      </p:sp>
      <p:sp>
        <p:nvSpPr>
          <p:cNvPr id="6" name="Oval 5">
            <a:extLst>
              <a:ext uri="{FF2B5EF4-FFF2-40B4-BE49-F238E27FC236}">
                <a16:creationId xmlns:a16="http://schemas.microsoft.com/office/drawing/2014/main" id="{12FDA855-73E2-5BE8-46BB-EA072A852FC6}"/>
              </a:ext>
            </a:extLst>
          </p:cNvPr>
          <p:cNvSpPr/>
          <p:nvPr/>
        </p:nvSpPr>
        <p:spPr>
          <a:xfrm>
            <a:off x="9222470" y="1823578"/>
            <a:ext cx="2969530" cy="2889364"/>
          </a:xfrm>
          <a:prstGeom prst="ellipse">
            <a:avLst/>
          </a:prstGeom>
          <a:solidFill>
            <a:srgbClr val="1C5394"/>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de-DE" sz="2400" b="1">
                <a:solidFill>
                  <a:prstClr val="white"/>
                </a:solidFill>
              </a:rPr>
              <a:t>Total </a:t>
            </a:r>
            <a:r>
              <a:rPr lang="de-DE" sz="2400" b="1" err="1">
                <a:solidFill>
                  <a:prstClr val="white"/>
                </a:solidFill>
              </a:rPr>
              <a:t>investments</a:t>
            </a:r>
            <a:r>
              <a:rPr lang="de-DE" sz="2400" b="1">
                <a:solidFill>
                  <a:prstClr val="white"/>
                </a:solidFill>
              </a:rPr>
              <a:t>: </a:t>
            </a:r>
            <a:endParaRPr lang="en-US" sz="2400">
              <a:solidFill>
                <a:prstClr val="white"/>
              </a:solidFill>
              <a:cs typeface="Arial"/>
            </a:endParaRPr>
          </a:p>
          <a:p>
            <a:pPr lvl="0" algn="ctr">
              <a:defRPr/>
            </a:pPr>
            <a:r>
              <a:rPr lang="de-DE" sz="2400" b="1" err="1">
                <a:solidFill>
                  <a:prstClr val="white"/>
                </a:solidFill>
              </a:rPr>
              <a:t>approx</a:t>
            </a:r>
            <a:r>
              <a:rPr lang="de-DE" sz="2400" b="1">
                <a:solidFill>
                  <a:prstClr val="white"/>
                </a:solidFill>
              </a:rPr>
              <a:t>. 9.5 </a:t>
            </a:r>
            <a:r>
              <a:rPr lang="de-DE" sz="2400" b="1" err="1">
                <a:solidFill>
                  <a:prstClr val="white"/>
                </a:solidFill>
              </a:rPr>
              <a:t>billion</a:t>
            </a:r>
            <a:r>
              <a:rPr lang="de-DE" sz="2400" b="1">
                <a:solidFill>
                  <a:prstClr val="white"/>
                </a:solidFill>
              </a:rPr>
              <a:t> </a:t>
            </a:r>
            <a:r>
              <a:rPr lang="de-DE" sz="2400" b="1" err="1">
                <a:solidFill>
                  <a:prstClr val="white"/>
                </a:solidFill>
              </a:rPr>
              <a:t>euros</a:t>
            </a:r>
            <a:endParaRPr lang="de-DE" sz="2400" b="1">
              <a:solidFill>
                <a:prstClr val="white"/>
              </a:solidFil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highlight>
                <a:srgbClr val="1C5394"/>
              </a:highlight>
              <a:uLnTx/>
              <a:uFillTx/>
              <a:latin typeface="Arial"/>
              <a:ea typeface="+mn-ea"/>
              <a:cs typeface="Arial"/>
            </a:endParaRPr>
          </a:p>
        </p:txBody>
      </p:sp>
    </p:spTree>
    <p:extLst>
      <p:ext uri="{BB962C8B-B14F-4D97-AF65-F5344CB8AC3E}">
        <p14:creationId xmlns:p14="http://schemas.microsoft.com/office/powerpoint/2010/main" val="24893269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FC6F27A1-836F-4BE3-CF07-3EE66AD62AAA}"/>
              </a:ext>
            </a:extLst>
          </p:cNvPr>
          <p:cNvSpPr>
            <a:spLocks noGrp="1"/>
          </p:cNvSpPr>
          <p:nvPr>
            <p:ph type="body" sz="quarter" idx="10"/>
          </p:nvPr>
        </p:nvSpPr>
        <p:spPr/>
        <p:txBody>
          <a:bodyPr/>
          <a:lstStyle/>
          <a:p>
            <a:r>
              <a:rPr lang="en-US" dirty="0"/>
              <a:t> Expansion of thermal utilization of geothermal energy in Munich </a:t>
            </a:r>
          </a:p>
        </p:txBody>
      </p:sp>
      <p:sp>
        <p:nvSpPr>
          <p:cNvPr id="416" name="Inhaltsplatzhalter 415">
            <a:extLst>
              <a:ext uri="{FF2B5EF4-FFF2-40B4-BE49-F238E27FC236}">
                <a16:creationId xmlns:a16="http://schemas.microsoft.com/office/drawing/2014/main" id="{97B2E588-38DC-3956-9831-A7B368CEAC1D}"/>
              </a:ext>
            </a:extLst>
          </p:cNvPr>
          <p:cNvSpPr>
            <a:spLocks noGrp="1"/>
          </p:cNvSpPr>
          <p:nvPr>
            <p:ph sz="quarter" idx="11"/>
          </p:nvPr>
        </p:nvSpPr>
        <p:spPr>
          <a:xfrm>
            <a:off x="339548" y="1701801"/>
            <a:ext cx="3756202" cy="4535489"/>
          </a:xfrm>
        </p:spPr>
        <p:txBody>
          <a:bodyPr/>
          <a:lstStyle/>
          <a:p>
            <a:pPr lvl="1"/>
            <a:r>
              <a:rPr lang="en-US" sz="1800" dirty="0">
                <a:latin typeface="+mj-lt"/>
              </a:rPr>
              <a:t>Munich was the first municipality in Bavaria to draw up a heating plan. The first draft was approved  by the city council on May 15, 2024</a:t>
            </a:r>
          </a:p>
          <a:p>
            <a:pPr lvl="1"/>
            <a:r>
              <a:rPr lang="de-DE" sz="1800" dirty="0">
                <a:latin typeface="+mj-lt"/>
              </a:rPr>
              <a:t>…and </a:t>
            </a:r>
            <a:r>
              <a:rPr lang="de-DE" sz="1800" dirty="0" err="1">
                <a:latin typeface="+mj-lt"/>
              </a:rPr>
              <a:t>published</a:t>
            </a:r>
            <a:r>
              <a:rPr lang="de-DE" sz="1800" dirty="0">
                <a:latin typeface="+mj-lt"/>
              </a:rPr>
              <a:t>: </a:t>
            </a:r>
            <a:r>
              <a:rPr lang="de-DE" sz="1800" dirty="0">
                <a:hlinkClick r:id="rId3"/>
              </a:rPr>
              <a:t>Portal Kommunaler Wärmeplan (muenchen.de)</a:t>
            </a:r>
            <a:endParaRPr lang="de-DE" sz="1800" dirty="0"/>
          </a:p>
          <a:p>
            <a:pPr marL="361950" indent="-176213"/>
            <a:r>
              <a:rPr lang="en-US" sz="1800" dirty="0">
                <a:latin typeface="+mj-lt"/>
              </a:rPr>
              <a:t>The expansion and optimization of heating networks plays an important role in this. Municipal heat planning in Munich is on the home stretch!</a:t>
            </a:r>
            <a:endParaRPr lang="de-DE" dirty="0"/>
          </a:p>
        </p:txBody>
      </p:sp>
      <p:sp>
        <p:nvSpPr>
          <p:cNvPr id="4" name="Titel 3">
            <a:extLst>
              <a:ext uri="{FF2B5EF4-FFF2-40B4-BE49-F238E27FC236}">
                <a16:creationId xmlns:a16="http://schemas.microsoft.com/office/drawing/2014/main" id="{6EA64D46-5D96-1773-609C-CBD10A5C89EC}"/>
              </a:ext>
            </a:extLst>
          </p:cNvPr>
          <p:cNvSpPr>
            <a:spLocks noGrp="1"/>
          </p:cNvSpPr>
          <p:nvPr>
            <p:ph type="title"/>
          </p:nvPr>
        </p:nvSpPr>
        <p:spPr/>
        <p:txBody>
          <a:bodyPr/>
          <a:lstStyle/>
          <a:p>
            <a:r>
              <a:rPr lang="en-US" sz="2400" dirty="0">
                <a:latin typeface="+mj-lt"/>
              </a:rPr>
              <a:t>Municipal heat planning</a:t>
            </a:r>
            <a:endParaRPr lang="de-DE" dirty="0"/>
          </a:p>
        </p:txBody>
      </p:sp>
      <p:sp>
        <p:nvSpPr>
          <p:cNvPr id="2" name="Foliennummernplatzhalter 1">
            <a:extLst>
              <a:ext uri="{FF2B5EF4-FFF2-40B4-BE49-F238E27FC236}">
                <a16:creationId xmlns:a16="http://schemas.microsoft.com/office/drawing/2014/main" id="{79451E76-C792-429D-B076-9E7A27FC6E02}"/>
              </a:ext>
            </a:extLst>
          </p:cNvPr>
          <p:cNvSpPr>
            <a:spLocks noGrp="1"/>
          </p:cNvSpPr>
          <p:nvPr>
            <p:ph type="sldNum" sz="quarter" idx="14"/>
          </p:nvPr>
        </p:nvSpPr>
        <p:spPr>
          <a:prstGeom prst="rect">
            <a:avLst/>
          </a:prstGeom>
          <a:noFill/>
        </p:spPr>
        <p:txBody>
          <a:bodyPr wrap="none" lIns="0" tIns="0" rIns="0" bIns="0" rtlCol="0">
            <a:noAutofit/>
          </a:bodyPr>
          <a:lstStyle>
            <a:defPPr>
              <a:defRPr lang="de-DE"/>
            </a:defPPr>
            <a:lvl1pPr marL="0" algn="l" defTabSz="913486" rtl="0" eaLnBrk="1" latinLnBrk="0" hangingPunct="1">
              <a:defRPr lang="de-DE" sz="999" kern="1200" smtClean="0">
                <a:solidFill>
                  <a:srgbClr val="738792"/>
                </a:solidFill>
                <a:latin typeface="Arial" pitchFamily="34" charset="0"/>
                <a:ea typeface="+mn-ea"/>
                <a:cs typeface="Arial" pitchFamily="34" charset="0"/>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a:lstStyle>
          <a:p>
            <a:fld id="{CAAC1DFF-D847-41A9-936B-84F626DB394F}" type="slidenum">
              <a:rPr lang="de-DE" smtClean="0"/>
              <a:pPr/>
              <a:t>8</a:t>
            </a:fld>
            <a:endParaRPr lang="de-DE"/>
          </a:p>
        </p:txBody>
      </p:sp>
      <p:sp>
        <p:nvSpPr>
          <p:cNvPr id="5" name="Textfeld 4">
            <a:extLst>
              <a:ext uri="{FF2B5EF4-FFF2-40B4-BE49-F238E27FC236}">
                <a16:creationId xmlns:a16="http://schemas.microsoft.com/office/drawing/2014/main" id="{AEB3F781-3CB5-3259-684F-49365C1717A2}"/>
              </a:ext>
            </a:extLst>
          </p:cNvPr>
          <p:cNvSpPr txBox="1"/>
          <p:nvPr/>
        </p:nvSpPr>
        <p:spPr>
          <a:xfrm>
            <a:off x="337963" y="3800807"/>
            <a:ext cx="7771358" cy="1538883"/>
          </a:xfrm>
          <a:prstGeom prst="rect">
            <a:avLst/>
          </a:prstGeom>
        </p:spPr>
        <p:txBody>
          <a:bodyPr vert="horz" wrap="square" lIns="0" tIns="0" rIns="0" bIns="0" rtlCol="0">
            <a:noAutofit/>
          </a:bodyPr>
          <a:lstStyle>
            <a:lvl1pPr marL="177711" indent="-177711" defTabSz="913943">
              <a:spcBef>
                <a:spcPts val="600"/>
              </a:spcBef>
              <a:buClr>
                <a:schemeClr val="tx2"/>
              </a:buClr>
              <a:buSzPct val="140000"/>
              <a:buFont typeface="Wingdings 3" pitchFamily="18" charset="2"/>
              <a:buChar char="ê"/>
              <a:defRPr sz="1799">
                <a:latin typeface="Arial" pitchFamily="34" charset="0"/>
                <a:cs typeface="Arial" pitchFamily="34" charset="0"/>
              </a:defRPr>
            </a:lvl1pPr>
            <a:lvl2pPr marL="361769" indent="-180885" defTabSz="913943">
              <a:spcBef>
                <a:spcPts val="600"/>
              </a:spcBef>
              <a:buClr>
                <a:schemeClr val="tx2"/>
              </a:buClr>
              <a:buSzPct val="140000"/>
              <a:buFont typeface="Wingdings 3" pitchFamily="18" charset="2"/>
              <a:buChar char="ê"/>
              <a:tabLst>
                <a:tab pos="361769" algn="l"/>
              </a:tabLst>
              <a:defRPr sz="1799">
                <a:latin typeface="Arial" pitchFamily="34" charset="0"/>
                <a:cs typeface="Arial" pitchFamily="34" charset="0"/>
              </a:defRPr>
            </a:lvl2pPr>
            <a:lvl3pPr marL="534721" indent="-172951" defTabSz="913943">
              <a:spcBef>
                <a:spcPts val="600"/>
              </a:spcBef>
              <a:buClr>
                <a:schemeClr val="tx2"/>
              </a:buClr>
              <a:buSzPct val="140000"/>
              <a:buFont typeface="Wingdings 3" pitchFamily="18" charset="2"/>
              <a:buChar char="ê"/>
              <a:defRPr sz="1799">
                <a:latin typeface="Arial" pitchFamily="34" charset="0"/>
                <a:cs typeface="Arial" pitchFamily="34" charset="0"/>
              </a:defRPr>
            </a:lvl3pPr>
            <a:lvl4pPr marL="715605" indent="-180885" defTabSz="913943">
              <a:spcBef>
                <a:spcPts val="600"/>
              </a:spcBef>
              <a:buClr>
                <a:schemeClr val="tx2"/>
              </a:buClr>
              <a:buSzPct val="140000"/>
              <a:buFont typeface="Wingdings 3" pitchFamily="18" charset="2"/>
              <a:buChar char="ê"/>
              <a:defRPr sz="1799">
                <a:latin typeface="Arial" pitchFamily="34" charset="0"/>
                <a:cs typeface="Arial" pitchFamily="34" charset="0"/>
              </a:defRPr>
            </a:lvl4pPr>
            <a:lvl5pPr marL="896490" indent="-180885" defTabSz="913943">
              <a:spcBef>
                <a:spcPts val="600"/>
              </a:spcBef>
              <a:buClr>
                <a:schemeClr val="tx2"/>
              </a:buClr>
              <a:buSzPct val="140000"/>
              <a:buFont typeface="Wingdings 3" pitchFamily="18" charset="2"/>
              <a:buChar char="ê"/>
              <a:defRPr sz="1799">
                <a:latin typeface="Arial" pitchFamily="34" charset="0"/>
                <a:cs typeface="Arial" pitchFamily="34" charset="0"/>
              </a:defRPr>
            </a:lvl5pPr>
            <a:lvl6pPr marL="2513343" indent="-228486" defTabSz="913943">
              <a:spcBef>
                <a:spcPct val="20000"/>
              </a:spcBef>
              <a:buFont typeface="Arial" pitchFamily="34" charset="0"/>
              <a:buChar char="•"/>
              <a:defRPr sz="1999"/>
            </a:lvl6pPr>
            <a:lvl7pPr marL="2970314" indent="-228486" defTabSz="913943">
              <a:spcBef>
                <a:spcPct val="20000"/>
              </a:spcBef>
              <a:buFont typeface="Arial" pitchFamily="34" charset="0"/>
              <a:buChar char="•"/>
              <a:defRPr sz="1999"/>
            </a:lvl7pPr>
            <a:lvl8pPr marL="3427286" indent="-228486" defTabSz="913943">
              <a:spcBef>
                <a:spcPct val="20000"/>
              </a:spcBef>
              <a:buFont typeface="Arial" pitchFamily="34" charset="0"/>
              <a:buChar char="•"/>
              <a:defRPr sz="1999"/>
            </a:lvl8pPr>
            <a:lvl9pPr marL="3884257" indent="-228486" defTabSz="913943">
              <a:spcBef>
                <a:spcPct val="20000"/>
              </a:spcBef>
              <a:buFont typeface="Arial" pitchFamily="34" charset="0"/>
              <a:buChar char="•"/>
              <a:defRPr sz="1999"/>
            </a:lvl9pPr>
          </a:lstStyle>
          <a:p>
            <a:endParaRPr lang="en-US"/>
          </a:p>
        </p:txBody>
      </p:sp>
      <p:sp>
        <p:nvSpPr>
          <p:cNvPr id="3" name="Datumsplatzhalter 2">
            <a:extLst>
              <a:ext uri="{FF2B5EF4-FFF2-40B4-BE49-F238E27FC236}">
                <a16:creationId xmlns:a16="http://schemas.microsoft.com/office/drawing/2014/main" id="{2BCCB38A-D89D-3C4B-04D6-88F16D66547F}"/>
              </a:ext>
            </a:extLst>
          </p:cNvPr>
          <p:cNvSpPr txBox="1">
            <a:spLocks/>
          </p:cNvSpPr>
          <p:nvPr/>
        </p:nvSpPr>
        <p:spPr>
          <a:xfrm>
            <a:off x="865874" y="6456200"/>
            <a:ext cx="2264239" cy="14203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999">
                <a:solidFill>
                  <a:srgbClr val="738792"/>
                </a:solidFill>
                <a:latin typeface="Arial" pitchFamily="34" charset="0"/>
                <a:cs typeface="Arial" pitchFamily="34" charset="0"/>
              </a:rPr>
              <a:t>21.03.25 / Stadtwerke München</a:t>
            </a:r>
          </a:p>
        </p:txBody>
      </p:sp>
      <p:pic>
        <p:nvPicPr>
          <p:cNvPr id="7" name="Grafik 6">
            <a:extLst>
              <a:ext uri="{FF2B5EF4-FFF2-40B4-BE49-F238E27FC236}">
                <a16:creationId xmlns:a16="http://schemas.microsoft.com/office/drawing/2014/main" id="{3538AA5B-ABA3-8C0C-14FB-75CA69A37EA1}"/>
              </a:ext>
            </a:extLst>
          </p:cNvPr>
          <p:cNvPicPr>
            <a:picLocks noChangeAspect="1"/>
          </p:cNvPicPr>
          <p:nvPr/>
        </p:nvPicPr>
        <p:blipFill>
          <a:blip r:embed="rId4"/>
          <a:stretch>
            <a:fillRect/>
          </a:stretch>
        </p:blipFill>
        <p:spPr>
          <a:xfrm>
            <a:off x="4214328" y="1701801"/>
            <a:ext cx="7638124" cy="4220285"/>
          </a:xfrm>
          <a:prstGeom prst="rect">
            <a:avLst/>
          </a:prstGeom>
        </p:spPr>
      </p:pic>
    </p:spTree>
    <p:extLst>
      <p:ext uri="{BB962C8B-B14F-4D97-AF65-F5344CB8AC3E}">
        <p14:creationId xmlns:p14="http://schemas.microsoft.com/office/powerpoint/2010/main" val="2955587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EBD0EC4-8C64-726C-D3E1-FFB54D26A20B}"/>
              </a:ext>
            </a:extLst>
          </p:cNvPr>
          <p:cNvSpPr>
            <a:spLocks noGrp="1"/>
          </p:cNvSpPr>
          <p:nvPr>
            <p:ph type="body" sz="quarter" idx="10"/>
          </p:nvPr>
        </p:nvSpPr>
        <p:spPr>
          <a:xfrm>
            <a:off x="339548" y="206439"/>
            <a:ext cx="11512904" cy="184538"/>
          </a:xfrm>
        </p:spPr>
        <p:txBody>
          <a:bodyPr/>
          <a:lstStyle/>
          <a:p>
            <a:r>
              <a:rPr lang="en-US" dirty="0"/>
              <a:t> Expansion of thermal utilization of geothermal energy in Munich </a:t>
            </a:r>
          </a:p>
        </p:txBody>
      </p:sp>
      <p:sp>
        <p:nvSpPr>
          <p:cNvPr id="3" name="Inhaltsplatzhalter 2">
            <a:extLst>
              <a:ext uri="{FF2B5EF4-FFF2-40B4-BE49-F238E27FC236}">
                <a16:creationId xmlns:a16="http://schemas.microsoft.com/office/drawing/2014/main" id="{577256D1-CD8B-36B3-4E29-BFA9797B0589}"/>
              </a:ext>
            </a:extLst>
          </p:cNvPr>
          <p:cNvSpPr>
            <a:spLocks noGrp="1"/>
          </p:cNvSpPr>
          <p:nvPr>
            <p:ph sz="quarter" idx="11"/>
          </p:nvPr>
        </p:nvSpPr>
        <p:spPr/>
        <p:txBody>
          <a:bodyPr/>
          <a:lstStyle/>
          <a:p>
            <a:r>
              <a:rPr lang="en-US" dirty="0"/>
              <a:t>The layers in the maps partially overlap. District heating overlaps all other layers (→District heating is prioritized)</a:t>
            </a:r>
          </a:p>
          <a:p>
            <a:r>
              <a:rPr lang="en-US" dirty="0"/>
              <a:t>The map on the right shows the decentralized potential (blue) without district heating and local heating networks</a:t>
            </a:r>
            <a:endParaRPr lang="de-DE" dirty="0"/>
          </a:p>
        </p:txBody>
      </p:sp>
      <p:sp>
        <p:nvSpPr>
          <p:cNvPr id="4" name="Titel 3">
            <a:extLst>
              <a:ext uri="{FF2B5EF4-FFF2-40B4-BE49-F238E27FC236}">
                <a16:creationId xmlns:a16="http://schemas.microsoft.com/office/drawing/2014/main" id="{1BE65CC3-2107-2BC4-EC67-4C97D533284F}"/>
              </a:ext>
            </a:extLst>
          </p:cNvPr>
          <p:cNvSpPr>
            <a:spLocks noGrp="1"/>
          </p:cNvSpPr>
          <p:nvPr>
            <p:ph type="title"/>
          </p:nvPr>
        </p:nvSpPr>
        <p:spPr/>
        <p:txBody>
          <a:bodyPr/>
          <a:lstStyle/>
          <a:p>
            <a:r>
              <a:rPr lang="en-US" sz="2400" dirty="0">
                <a:latin typeface="Arial"/>
                <a:cs typeface="Arial"/>
              </a:rPr>
              <a:t>District heating and </a:t>
            </a:r>
            <a:r>
              <a:rPr lang="en-US" sz="2400" dirty="0" err="1">
                <a:latin typeface="Arial"/>
                <a:cs typeface="Arial"/>
              </a:rPr>
              <a:t>decentralised</a:t>
            </a:r>
            <a:r>
              <a:rPr lang="en-US" sz="2400" dirty="0">
                <a:latin typeface="Arial"/>
                <a:cs typeface="Arial"/>
              </a:rPr>
              <a:t> solutions complement each other well</a:t>
            </a:r>
            <a:endParaRPr lang="de-DE" dirty="0"/>
          </a:p>
        </p:txBody>
      </p:sp>
      <p:grpSp>
        <p:nvGrpSpPr>
          <p:cNvPr id="7" name="Group 10">
            <a:extLst>
              <a:ext uri="{FF2B5EF4-FFF2-40B4-BE49-F238E27FC236}">
                <a16:creationId xmlns:a16="http://schemas.microsoft.com/office/drawing/2014/main" id="{DCF309D7-2C53-BFB6-FCD9-5B0C8B05F2DD}"/>
              </a:ext>
            </a:extLst>
          </p:cNvPr>
          <p:cNvGrpSpPr/>
          <p:nvPr/>
        </p:nvGrpSpPr>
        <p:grpSpPr>
          <a:xfrm>
            <a:off x="339548" y="2363866"/>
            <a:ext cx="11237390" cy="3226378"/>
            <a:chOff x="480979" y="2677548"/>
            <a:chExt cx="11237390" cy="3327019"/>
          </a:xfrm>
        </p:grpSpPr>
        <p:pic>
          <p:nvPicPr>
            <p:cNvPr id="8" name="Picture 1">
              <a:extLst>
                <a:ext uri="{FF2B5EF4-FFF2-40B4-BE49-F238E27FC236}">
                  <a16:creationId xmlns:a16="http://schemas.microsoft.com/office/drawing/2014/main" id="{05FB6C47-990C-1D2D-BEBC-E0FB1F396794}"/>
                </a:ext>
              </a:extLst>
            </p:cNvPr>
            <p:cNvPicPr>
              <a:picLocks noChangeAspect="1"/>
            </p:cNvPicPr>
            <p:nvPr/>
          </p:nvPicPr>
          <p:blipFill rotWithShape="1">
            <a:blip r:embed="rId2"/>
            <a:srcRect l="47" t="-88" r="-233" b="16456"/>
            <a:stretch/>
          </p:blipFill>
          <p:spPr>
            <a:xfrm>
              <a:off x="480979" y="2678748"/>
              <a:ext cx="5474428" cy="3322327"/>
            </a:xfrm>
            <a:prstGeom prst="rect">
              <a:avLst/>
            </a:prstGeom>
          </p:spPr>
        </p:pic>
        <p:pic>
          <p:nvPicPr>
            <p:cNvPr id="9" name="Picture 2">
              <a:extLst>
                <a:ext uri="{FF2B5EF4-FFF2-40B4-BE49-F238E27FC236}">
                  <a16:creationId xmlns:a16="http://schemas.microsoft.com/office/drawing/2014/main" id="{BB2F6E14-7EC7-B659-112C-BCFE7603ED5A}"/>
                </a:ext>
              </a:extLst>
            </p:cNvPr>
            <p:cNvPicPr>
              <a:picLocks noChangeAspect="1"/>
            </p:cNvPicPr>
            <p:nvPr/>
          </p:nvPicPr>
          <p:blipFill rotWithShape="1">
            <a:blip r:embed="rId3"/>
            <a:srcRect t="97" r="132" b="15556"/>
            <a:stretch/>
          </p:blipFill>
          <p:spPr>
            <a:xfrm>
              <a:off x="6241570" y="2678748"/>
              <a:ext cx="5467168" cy="3325819"/>
            </a:xfrm>
            <a:prstGeom prst="rect">
              <a:avLst/>
            </a:prstGeom>
          </p:spPr>
        </p:pic>
        <p:sp>
          <p:nvSpPr>
            <p:cNvPr id="10" name="Textfeld 9">
              <a:extLst>
                <a:ext uri="{FF2B5EF4-FFF2-40B4-BE49-F238E27FC236}">
                  <a16:creationId xmlns:a16="http://schemas.microsoft.com/office/drawing/2014/main" id="{180D982B-0885-9484-6DB9-3F4830DD9006}"/>
                </a:ext>
              </a:extLst>
            </p:cNvPr>
            <p:cNvSpPr txBox="1"/>
            <p:nvPr/>
          </p:nvSpPr>
          <p:spPr>
            <a:xfrm>
              <a:off x="480979" y="2677548"/>
              <a:ext cx="5466511" cy="317378"/>
            </a:xfrm>
            <a:prstGeom prst="rect">
              <a:avLst/>
            </a:prstGeom>
            <a:solidFill>
              <a:schemeClr val="bg1">
                <a:lumMod val="85000"/>
              </a:schemeClr>
            </a:solidFill>
          </p:spPr>
          <p:txBody>
            <a:bodyPr wrap="square" lIns="91440" tIns="45720" rIns="91440" bIns="45720" anchor="t">
              <a:spAutoFit/>
            </a:bodyPr>
            <a:lstStyle/>
            <a:p>
              <a:pPr algn="ctr"/>
              <a:r>
                <a:rPr lang="de-DE" sz="1400" b="1" dirty="0">
                  <a:solidFill>
                    <a:schemeClr val="accent1"/>
                  </a:solidFill>
                </a:rPr>
                <a:t>All </a:t>
              </a:r>
              <a:r>
                <a:rPr lang="de-DE" sz="1400" b="1" dirty="0" err="1">
                  <a:solidFill>
                    <a:schemeClr val="accent1"/>
                  </a:solidFill>
                </a:rPr>
                <a:t>areas</a:t>
              </a:r>
              <a:r>
                <a:rPr lang="de-DE" sz="1400" b="1" dirty="0">
                  <a:solidFill>
                    <a:schemeClr val="accent1"/>
                  </a:solidFill>
                </a:rPr>
                <a:t> inkl. </a:t>
              </a:r>
              <a:r>
                <a:rPr lang="de-DE" sz="1400" b="1" dirty="0" err="1">
                  <a:solidFill>
                    <a:schemeClr val="accent1"/>
                  </a:solidFill>
                </a:rPr>
                <a:t>district</a:t>
              </a:r>
              <a:r>
                <a:rPr lang="de-DE" sz="1400" b="1" dirty="0">
                  <a:solidFill>
                    <a:schemeClr val="accent1"/>
                  </a:solidFill>
                </a:rPr>
                <a:t> </a:t>
              </a:r>
              <a:r>
                <a:rPr lang="de-DE" sz="1400" b="1" dirty="0" err="1">
                  <a:solidFill>
                    <a:schemeClr val="accent1"/>
                  </a:solidFill>
                </a:rPr>
                <a:t>heating</a:t>
              </a:r>
              <a:endParaRPr lang="en-US" dirty="0">
                <a:solidFill>
                  <a:schemeClr val="accent1"/>
                </a:solidFill>
                <a:cs typeface="Arial"/>
              </a:endParaRPr>
            </a:p>
          </p:txBody>
        </p:sp>
        <p:sp>
          <p:nvSpPr>
            <p:cNvPr id="11" name="Textfeld 30">
              <a:extLst>
                <a:ext uri="{FF2B5EF4-FFF2-40B4-BE49-F238E27FC236}">
                  <a16:creationId xmlns:a16="http://schemas.microsoft.com/office/drawing/2014/main" id="{B89A71EC-8EEB-5765-D91C-AE3C4F6ED9D4}"/>
                </a:ext>
              </a:extLst>
            </p:cNvPr>
            <p:cNvSpPr txBox="1"/>
            <p:nvPr/>
          </p:nvSpPr>
          <p:spPr>
            <a:xfrm>
              <a:off x="6251858" y="2677548"/>
              <a:ext cx="5466511" cy="317378"/>
            </a:xfrm>
            <a:prstGeom prst="rect">
              <a:avLst/>
            </a:prstGeom>
            <a:solidFill>
              <a:schemeClr val="bg1">
                <a:lumMod val="85000"/>
              </a:schemeClr>
            </a:solidFill>
          </p:spPr>
          <p:txBody>
            <a:bodyPr wrap="square" lIns="91440" tIns="45720" rIns="91440" bIns="45720" anchor="t">
              <a:spAutoFit/>
            </a:bodyPr>
            <a:lstStyle/>
            <a:p>
              <a:pPr algn="ctr"/>
              <a:r>
                <a:rPr lang="de-DE" sz="1400" b="1" dirty="0" err="1">
                  <a:solidFill>
                    <a:schemeClr val="accent1"/>
                  </a:solidFill>
                </a:rPr>
                <a:t>Decentralised</a:t>
              </a:r>
              <a:r>
                <a:rPr lang="de-DE" sz="1400" b="1" dirty="0">
                  <a:solidFill>
                    <a:schemeClr val="accent1"/>
                  </a:solidFill>
                </a:rPr>
                <a:t> potential</a:t>
              </a:r>
              <a:endParaRPr lang="en-US" dirty="0">
                <a:solidFill>
                  <a:schemeClr val="accent1"/>
                </a:solidFill>
              </a:endParaRPr>
            </a:p>
          </p:txBody>
        </p:sp>
      </p:grpSp>
      <p:sp>
        <p:nvSpPr>
          <p:cNvPr id="13" name="Datumsplatzhalter 2">
            <a:extLst>
              <a:ext uri="{FF2B5EF4-FFF2-40B4-BE49-F238E27FC236}">
                <a16:creationId xmlns:a16="http://schemas.microsoft.com/office/drawing/2014/main" id="{50ABEBDE-82DE-961A-8EEF-3D120F66A852}"/>
              </a:ext>
            </a:extLst>
          </p:cNvPr>
          <p:cNvSpPr txBox="1">
            <a:spLocks/>
          </p:cNvSpPr>
          <p:nvPr/>
        </p:nvSpPr>
        <p:spPr>
          <a:xfrm>
            <a:off x="865874" y="6456200"/>
            <a:ext cx="2264239" cy="142036"/>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999">
                <a:solidFill>
                  <a:srgbClr val="738792"/>
                </a:solidFill>
                <a:latin typeface="Arial" pitchFamily="34" charset="0"/>
                <a:cs typeface="Arial" pitchFamily="34" charset="0"/>
              </a:rPr>
              <a:t>21.03.25 / Stadtwerke München</a:t>
            </a:r>
          </a:p>
        </p:txBody>
      </p:sp>
      <p:sp>
        <p:nvSpPr>
          <p:cNvPr id="14" name="Foliennummernplatzhalter 1">
            <a:extLst>
              <a:ext uri="{FF2B5EF4-FFF2-40B4-BE49-F238E27FC236}">
                <a16:creationId xmlns:a16="http://schemas.microsoft.com/office/drawing/2014/main" id="{C5485267-B938-461A-3751-F970A4FB4114}"/>
              </a:ext>
            </a:extLst>
          </p:cNvPr>
          <p:cNvSpPr>
            <a:spLocks noGrp="1"/>
          </p:cNvSpPr>
          <p:nvPr>
            <p:ph type="sldNum" sz="quarter" idx="14"/>
          </p:nvPr>
        </p:nvSpPr>
        <p:spPr>
          <a:xfrm>
            <a:off x="344061" y="6509589"/>
            <a:ext cx="257950" cy="153888"/>
          </a:xfrm>
          <a:prstGeom prst="rect">
            <a:avLst/>
          </a:prstGeom>
          <a:noFill/>
        </p:spPr>
        <p:txBody>
          <a:bodyPr wrap="none" lIns="0" tIns="0" rIns="0" bIns="0" rtlCol="0">
            <a:noAutofit/>
          </a:bodyPr>
          <a:lstStyle>
            <a:defPPr>
              <a:defRPr lang="de-DE"/>
            </a:defPPr>
            <a:lvl1pPr marL="0" algn="l" defTabSz="913486" rtl="0" eaLnBrk="1" latinLnBrk="0" hangingPunct="1">
              <a:defRPr lang="de-DE" sz="999" kern="1200" smtClean="0">
                <a:solidFill>
                  <a:srgbClr val="738792"/>
                </a:solidFill>
                <a:latin typeface="Arial" pitchFamily="34" charset="0"/>
                <a:ea typeface="+mn-ea"/>
                <a:cs typeface="Arial" pitchFamily="34" charset="0"/>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a:lstStyle>
          <a:p>
            <a:fld id="{CAAC1DFF-D847-41A9-936B-84F626DB394F}" type="slidenum">
              <a:rPr lang="de-DE" smtClean="0"/>
              <a:pPr/>
              <a:t>9</a:t>
            </a:fld>
            <a:endParaRPr lang="de-DE"/>
          </a:p>
        </p:txBody>
      </p:sp>
      <p:grpSp>
        <p:nvGrpSpPr>
          <p:cNvPr id="23" name="Gruppieren 22">
            <a:extLst>
              <a:ext uri="{FF2B5EF4-FFF2-40B4-BE49-F238E27FC236}">
                <a16:creationId xmlns:a16="http://schemas.microsoft.com/office/drawing/2014/main" id="{5801A691-9F4E-82CB-325B-0FE712276290}"/>
              </a:ext>
            </a:extLst>
          </p:cNvPr>
          <p:cNvGrpSpPr/>
          <p:nvPr/>
        </p:nvGrpSpPr>
        <p:grpSpPr>
          <a:xfrm>
            <a:off x="322481" y="5591479"/>
            <a:ext cx="9730209" cy="926362"/>
            <a:chOff x="322481" y="5591479"/>
            <a:chExt cx="9730209" cy="926362"/>
          </a:xfrm>
        </p:grpSpPr>
        <p:pic>
          <p:nvPicPr>
            <p:cNvPr id="15" name="Picture 9">
              <a:extLst>
                <a:ext uri="{FF2B5EF4-FFF2-40B4-BE49-F238E27FC236}">
                  <a16:creationId xmlns:a16="http://schemas.microsoft.com/office/drawing/2014/main" id="{0BC132F9-BD46-A1E5-7CB7-10FCFF8999CF}"/>
                </a:ext>
              </a:extLst>
            </p:cNvPr>
            <p:cNvPicPr>
              <a:picLocks noChangeAspect="1"/>
            </p:cNvPicPr>
            <p:nvPr/>
          </p:nvPicPr>
          <p:blipFill>
            <a:blip r:embed="rId4"/>
            <a:stretch>
              <a:fillRect/>
            </a:stretch>
          </p:blipFill>
          <p:spPr>
            <a:xfrm>
              <a:off x="322481" y="5591479"/>
              <a:ext cx="9535190" cy="926362"/>
            </a:xfrm>
            <a:prstGeom prst="rect">
              <a:avLst/>
            </a:prstGeom>
          </p:spPr>
        </p:pic>
        <p:sp>
          <p:nvSpPr>
            <p:cNvPr id="16" name="Rechteck 15">
              <a:extLst>
                <a:ext uri="{FF2B5EF4-FFF2-40B4-BE49-F238E27FC236}">
                  <a16:creationId xmlns:a16="http://schemas.microsoft.com/office/drawing/2014/main" id="{232B400B-EB27-AAA4-F971-C0DDC5AC121C}"/>
                </a:ext>
              </a:extLst>
            </p:cNvPr>
            <p:cNvSpPr/>
            <p:nvPr/>
          </p:nvSpPr>
          <p:spPr>
            <a:xfrm>
              <a:off x="846824" y="5649435"/>
              <a:ext cx="2495085" cy="198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err="1">
                  <a:solidFill>
                    <a:schemeClr val="tx1"/>
                  </a:solidFill>
                  <a:latin typeface="+mj-lt"/>
                </a:rPr>
                <a:t>District</a:t>
              </a:r>
              <a:r>
                <a:rPr lang="de-DE" sz="1200" dirty="0">
                  <a:solidFill>
                    <a:schemeClr val="tx1"/>
                  </a:solidFill>
                  <a:latin typeface="+mj-lt"/>
                </a:rPr>
                <a:t> </a:t>
              </a:r>
              <a:r>
                <a:rPr lang="de-DE" sz="1200" dirty="0" err="1">
                  <a:solidFill>
                    <a:schemeClr val="tx1"/>
                  </a:solidFill>
                  <a:latin typeface="+mj-lt"/>
                </a:rPr>
                <a:t>heating</a:t>
              </a:r>
              <a:endParaRPr lang="de-DE" sz="1200" dirty="0">
                <a:solidFill>
                  <a:schemeClr val="tx1"/>
                </a:solidFill>
                <a:latin typeface="+mj-lt"/>
              </a:endParaRPr>
            </a:p>
          </p:txBody>
        </p:sp>
        <p:sp>
          <p:nvSpPr>
            <p:cNvPr id="17" name="Rechteck 16">
              <a:extLst>
                <a:ext uri="{FF2B5EF4-FFF2-40B4-BE49-F238E27FC236}">
                  <a16:creationId xmlns:a16="http://schemas.microsoft.com/office/drawing/2014/main" id="{1F3FB057-AFD2-4E9A-DBEC-6708FA09787D}"/>
                </a:ext>
              </a:extLst>
            </p:cNvPr>
            <p:cNvSpPr/>
            <p:nvPr/>
          </p:nvSpPr>
          <p:spPr>
            <a:xfrm>
              <a:off x="846824" y="5943362"/>
              <a:ext cx="2495085" cy="198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err="1">
                  <a:solidFill>
                    <a:schemeClr val="tx1"/>
                  </a:solidFill>
                  <a:latin typeface="+mj-lt"/>
                </a:rPr>
                <a:t>District</a:t>
              </a:r>
              <a:r>
                <a:rPr lang="de-DE" sz="1200" dirty="0">
                  <a:solidFill>
                    <a:schemeClr val="tx1"/>
                  </a:solidFill>
                  <a:latin typeface="+mj-lt"/>
                </a:rPr>
                <a:t> </a:t>
              </a:r>
              <a:r>
                <a:rPr lang="de-DE" sz="1200" dirty="0" err="1">
                  <a:solidFill>
                    <a:schemeClr val="tx1"/>
                  </a:solidFill>
                  <a:latin typeface="+mj-lt"/>
                </a:rPr>
                <a:t>heating</a:t>
              </a:r>
              <a:r>
                <a:rPr lang="de-DE" sz="1200" dirty="0">
                  <a:solidFill>
                    <a:schemeClr val="tx1"/>
                  </a:solidFill>
                  <a:latin typeface="+mj-lt"/>
                </a:rPr>
                <a:t> in 2025</a:t>
              </a:r>
            </a:p>
          </p:txBody>
        </p:sp>
        <p:sp>
          <p:nvSpPr>
            <p:cNvPr id="18" name="Rechteck 17">
              <a:extLst>
                <a:ext uri="{FF2B5EF4-FFF2-40B4-BE49-F238E27FC236}">
                  <a16:creationId xmlns:a16="http://schemas.microsoft.com/office/drawing/2014/main" id="{FDB26EBE-80AD-7CA4-ED93-8694847DD20D}"/>
                </a:ext>
              </a:extLst>
            </p:cNvPr>
            <p:cNvSpPr/>
            <p:nvPr/>
          </p:nvSpPr>
          <p:spPr>
            <a:xfrm>
              <a:off x="846824" y="6257087"/>
              <a:ext cx="5620651" cy="199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a:solidFill>
                    <a:schemeClr val="tx1"/>
                  </a:solidFill>
                  <a:latin typeface="+mj-lt"/>
                </a:rPr>
                <a:t>Areas </a:t>
              </a:r>
              <a:r>
                <a:rPr lang="de-DE" sz="1200" dirty="0" err="1">
                  <a:solidFill>
                    <a:schemeClr val="tx1"/>
                  </a:solidFill>
                  <a:latin typeface="+mj-lt"/>
                </a:rPr>
                <a:t>with</a:t>
              </a:r>
              <a:r>
                <a:rPr lang="de-DE" sz="1200" dirty="0">
                  <a:solidFill>
                    <a:schemeClr val="tx1"/>
                  </a:solidFill>
                  <a:latin typeface="+mj-lt"/>
                </a:rPr>
                <a:t> </a:t>
              </a:r>
              <a:r>
                <a:rPr lang="de-DE" sz="1200" dirty="0" err="1">
                  <a:solidFill>
                    <a:schemeClr val="tx1"/>
                  </a:solidFill>
                  <a:latin typeface="+mj-lt"/>
                </a:rPr>
                <a:t>no</a:t>
              </a:r>
              <a:r>
                <a:rPr lang="de-DE" sz="1200" dirty="0">
                  <a:solidFill>
                    <a:schemeClr val="tx1"/>
                  </a:solidFill>
                  <a:latin typeface="+mj-lt"/>
                </a:rPr>
                <a:t> </a:t>
              </a:r>
              <a:r>
                <a:rPr lang="de-DE" sz="1200" dirty="0" err="1">
                  <a:solidFill>
                    <a:schemeClr val="tx1"/>
                  </a:solidFill>
                  <a:latin typeface="+mj-lt"/>
                </a:rPr>
                <a:t>or</a:t>
              </a:r>
              <a:r>
                <a:rPr lang="de-DE" sz="1200" dirty="0">
                  <a:solidFill>
                    <a:schemeClr val="tx1"/>
                  </a:solidFill>
                  <a:latin typeface="+mj-lt"/>
                </a:rPr>
                <a:t> </a:t>
              </a:r>
              <a:r>
                <a:rPr lang="de-DE" sz="1200" dirty="0" err="1">
                  <a:solidFill>
                    <a:schemeClr val="tx1"/>
                  </a:solidFill>
                  <a:latin typeface="+mj-lt"/>
                </a:rPr>
                <a:t>low</a:t>
              </a:r>
              <a:r>
                <a:rPr lang="de-DE" sz="1200" dirty="0">
                  <a:solidFill>
                    <a:schemeClr val="tx1"/>
                  </a:solidFill>
                  <a:latin typeface="+mj-lt"/>
                </a:rPr>
                <a:t> </a:t>
              </a:r>
              <a:r>
                <a:rPr lang="de-DE" sz="1200" dirty="0" err="1">
                  <a:solidFill>
                    <a:schemeClr val="tx1"/>
                  </a:solidFill>
                  <a:latin typeface="+mj-lt"/>
                </a:rPr>
                <a:t>demand</a:t>
              </a:r>
              <a:endParaRPr lang="de-DE" sz="1200" dirty="0">
                <a:solidFill>
                  <a:schemeClr val="tx1"/>
                </a:solidFill>
                <a:latin typeface="+mj-lt"/>
              </a:endParaRPr>
            </a:p>
          </p:txBody>
        </p:sp>
        <p:sp>
          <p:nvSpPr>
            <p:cNvPr id="19" name="Rechteck 18">
              <a:extLst>
                <a:ext uri="{FF2B5EF4-FFF2-40B4-BE49-F238E27FC236}">
                  <a16:creationId xmlns:a16="http://schemas.microsoft.com/office/drawing/2014/main" id="{72917764-A135-EDD8-CF59-47E3083DE602}"/>
                </a:ext>
              </a:extLst>
            </p:cNvPr>
            <p:cNvSpPr/>
            <p:nvPr/>
          </p:nvSpPr>
          <p:spPr>
            <a:xfrm>
              <a:off x="4171049" y="5660070"/>
              <a:ext cx="2495085" cy="198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a:solidFill>
                    <a:schemeClr val="tx1"/>
                  </a:solidFill>
                  <a:latin typeface="+mj-lt"/>
                </a:rPr>
                <a:t>Heat network </a:t>
              </a:r>
              <a:r>
                <a:rPr lang="de-DE" sz="1200" dirty="0" err="1">
                  <a:solidFill>
                    <a:schemeClr val="tx1"/>
                  </a:solidFill>
                  <a:latin typeface="+mj-lt"/>
                </a:rPr>
                <a:t>investigation</a:t>
              </a:r>
              <a:endParaRPr lang="de-DE" sz="1200" dirty="0">
                <a:solidFill>
                  <a:schemeClr val="tx1"/>
                </a:solidFill>
                <a:latin typeface="+mj-lt"/>
              </a:endParaRPr>
            </a:p>
          </p:txBody>
        </p:sp>
        <p:sp>
          <p:nvSpPr>
            <p:cNvPr id="20" name="Rechteck 19">
              <a:extLst>
                <a:ext uri="{FF2B5EF4-FFF2-40B4-BE49-F238E27FC236}">
                  <a16:creationId xmlns:a16="http://schemas.microsoft.com/office/drawing/2014/main" id="{E5A59533-44DD-EFC4-A56E-E0552483ABF2}"/>
                </a:ext>
              </a:extLst>
            </p:cNvPr>
            <p:cNvSpPr/>
            <p:nvPr/>
          </p:nvSpPr>
          <p:spPr>
            <a:xfrm>
              <a:off x="4171049" y="5955477"/>
              <a:ext cx="2495085" cy="198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err="1">
                  <a:solidFill>
                    <a:schemeClr val="tx1"/>
                  </a:solidFill>
                  <a:latin typeface="+mj-lt"/>
                </a:rPr>
                <a:t>Decentral</a:t>
              </a:r>
              <a:r>
                <a:rPr lang="de-DE" sz="1200" dirty="0">
                  <a:solidFill>
                    <a:schemeClr val="tx1"/>
                  </a:solidFill>
                  <a:latin typeface="+mj-lt"/>
                </a:rPr>
                <a:t> </a:t>
              </a:r>
              <a:r>
                <a:rPr lang="de-DE" sz="1200" dirty="0" err="1">
                  <a:solidFill>
                    <a:schemeClr val="tx1"/>
                  </a:solidFill>
                  <a:latin typeface="+mj-lt"/>
                </a:rPr>
                <a:t>solutions</a:t>
              </a:r>
              <a:endParaRPr lang="de-DE" sz="1200" dirty="0">
                <a:solidFill>
                  <a:schemeClr val="tx1"/>
                </a:solidFill>
                <a:latin typeface="+mj-lt"/>
              </a:endParaRPr>
            </a:p>
          </p:txBody>
        </p:sp>
        <p:sp>
          <p:nvSpPr>
            <p:cNvPr id="21" name="Rechteck 20">
              <a:extLst>
                <a:ext uri="{FF2B5EF4-FFF2-40B4-BE49-F238E27FC236}">
                  <a16:creationId xmlns:a16="http://schemas.microsoft.com/office/drawing/2014/main" id="{7A1CE8A6-CC05-E2B5-E578-87AB741FEAAE}"/>
                </a:ext>
              </a:extLst>
            </p:cNvPr>
            <p:cNvSpPr/>
            <p:nvPr/>
          </p:nvSpPr>
          <p:spPr>
            <a:xfrm>
              <a:off x="7557605" y="5649435"/>
              <a:ext cx="2495085" cy="198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err="1">
                  <a:solidFill>
                    <a:schemeClr val="tx1"/>
                  </a:solidFill>
                  <a:latin typeface="+mj-lt"/>
                </a:rPr>
                <a:t>Inspection</a:t>
              </a:r>
              <a:r>
                <a:rPr lang="de-DE" sz="1200" dirty="0">
                  <a:solidFill>
                    <a:schemeClr val="tx1"/>
                  </a:solidFill>
                  <a:latin typeface="+mj-lt"/>
                </a:rPr>
                <a:t> </a:t>
              </a:r>
              <a:r>
                <a:rPr lang="de-DE" sz="1200" dirty="0" err="1">
                  <a:solidFill>
                    <a:schemeClr val="tx1"/>
                  </a:solidFill>
                  <a:latin typeface="+mj-lt"/>
                </a:rPr>
                <a:t>area</a:t>
              </a:r>
              <a:endParaRPr lang="de-DE" sz="1200" dirty="0">
                <a:solidFill>
                  <a:schemeClr val="tx1"/>
                </a:solidFill>
                <a:latin typeface="+mj-lt"/>
              </a:endParaRPr>
            </a:p>
          </p:txBody>
        </p:sp>
        <p:sp>
          <p:nvSpPr>
            <p:cNvPr id="22" name="Rechteck 21">
              <a:extLst>
                <a:ext uri="{FF2B5EF4-FFF2-40B4-BE49-F238E27FC236}">
                  <a16:creationId xmlns:a16="http://schemas.microsoft.com/office/drawing/2014/main" id="{467C70D6-A3F8-6AB2-CD33-A92C08990237}"/>
                </a:ext>
              </a:extLst>
            </p:cNvPr>
            <p:cNvSpPr/>
            <p:nvPr/>
          </p:nvSpPr>
          <p:spPr>
            <a:xfrm>
              <a:off x="7557605" y="5979940"/>
              <a:ext cx="2495085" cy="19836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e-DE" sz="1200" dirty="0">
                  <a:solidFill>
                    <a:schemeClr val="tx1"/>
                  </a:solidFill>
                  <a:latin typeface="+mj-lt"/>
                </a:rPr>
                <a:t>Special </a:t>
              </a:r>
              <a:r>
                <a:rPr lang="de-DE" sz="1200" dirty="0" err="1">
                  <a:solidFill>
                    <a:schemeClr val="tx1"/>
                  </a:solidFill>
                  <a:latin typeface="+mj-lt"/>
                </a:rPr>
                <a:t>use</a:t>
              </a:r>
              <a:r>
                <a:rPr lang="de-DE" sz="1200" dirty="0">
                  <a:solidFill>
                    <a:schemeClr val="tx1"/>
                  </a:solidFill>
                  <a:latin typeface="+mj-lt"/>
                </a:rPr>
                <a:t>, </a:t>
              </a:r>
              <a:r>
                <a:rPr lang="de-DE" sz="1200" dirty="0" err="1">
                  <a:solidFill>
                    <a:schemeClr val="tx1"/>
                  </a:solidFill>
                  <a:latin typeface="+mj-lt"/>
                </a:rPr>
                <a:t>industry</a:t>
              </a:r>
              <a:endParaRPr lang="de-DE" sz="1200" dirty="0">
                <a:solidFill>
                  <a:schemeClr val="tx1"/>
                </a:solidFill>
                <a:latin typeface="+mj-lt"/>
              </a:endParaRPr>
            </a:p>
          </p:txBody>
        </p:sp>
      </p:grpSp>
    </p:spTree>
    <p:extLst>
      <p:ext uri="{BB962C8B-B14F-4D97-AF65-F5344CB8AC3E}">
        <p14:creationId xmlns:p14="http://schemas.microsoft.com/office/powerpoint/2010/main" val="608796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9LBBtKn2_XtLwp0mObMrg"/>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9LBBtKn2_XtLwp0mObMrg"/>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9LBBtKn2_XtLwp0mObMrg"/>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yRT.QFhjxF.KFWmHrynZA"/>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7kxIL50Xw1LNSm3olezf3w"/>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DfGsN61OwR3CfRN2pvy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WM_Folienmaster_16_9">
  <a:themeElements>
    <a:clrScheme name="SWM_colors">
      <a:dk1>
        <a:sysClr val="windowText" lastClr="000000"/>
      </a:dk1>
      <a:lt1>
        <a:sysClr val="window" lastClr="FFFFFF"/>
      </a:lt1>
      <a:dk2>
        <a:srgbClr val="1C5394"/>
      </a:dk2>
      <a:lt2>
        <a:srgbClr val="E0E5E8"/>
      </a:lt2>
      <a:accent1>
        <a:srgbClr val="1C5394"/>
      </a:accent1>
      <a:accent2>
        <a:srgbClr val="75AD40"/>
      </a:accent2>
      <a:accent3>
        <a:srgbClr val="009EE0"/>
      </a:accent3>
      <a:accent4>
        <a:srgbClr val="981A32"/>
      </a:accent4>
      <a:accent5>
        <a:srgbClr val="FABA00"/>
      </a:accent5>
      <a:accent6>
        <a:srgbClr val="EB6909"/>
      </a:accent6>
      <a:hlink>
        <a:srgbClr val="005096"/>
      </a:hlink>
      <a:folHlink>
        <a:srgbClr val="55AA28"/>
      </a:folHlink>
    </a:clrScheme>
    <a:fontScheme name="SWM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1_SWM_Folienmaster_16_9">
  <a:themeElements>
    <a:clrScheme name="Benutzerdefiniert 2">
      <a:dk1>
        <a:srgbClr val="000000"/>
      </a:dk1>
      <a:lt1>
        <a:srgbClr val="FFFFFF"/>
      </a:lt1>
      <a:dk2>
        <a:srgbClr val="275699"/>
      </a:dk2>
      <a:lt2>
        <a:srgbClr val="E0E5E8"/>
      </a:lt2>
      <a:accent1>
        <a:srgbClr val="275699"/>
      </a:accent1>
      <a:accent2>
        <a:srgbClr val="75AD40"/>
      </a:accent2>
      <a:accent3>
        <a:srgbClr val="009EE0"/>
      </a:accent3>
      <a:accent4>
        <a:srgbClr val="981A32"/>
      </a:accent4>
      <a:accent5>
        <a:srgbClr val="FABA00"/>
      </a:accent5>
      <a:accent6>
        <a:srgbClr val="EB6909"/>
      </a:accent6>
      <a:hlink>
        <a:srgbClr val="005096"/>
      </a:hlink>
      <a:folHlink>
        <a:srgbClr val="55AA28"/>
      </a:folHlink>
    </a:clrScheme>
    <a:fontScheme name="SWM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3.xml><?xml version="1.0" encoding="utf-8"?>
<a:theme xmlns:a="http://schemas.openxmlformats.org/drawingml/2006/main" name="3_SWM_Folienmaster_16_9">
  <a:themeElements>
    <a:clrScheme name="SWM_colors">
      <a:dk1>
        <a:sysClr val="windowText" lastClr="000000"/>
      </a:dk1>
      <a:lt1>
        <a:sysClr val="window" lastClr="FFFFFF"/>
      </a:lt1>
      <a:dk2>
        <a:srgbClr val="1C5394"/>
      </a:dk2>
      <a:lt2>
        <a:srgbClr val="E0E5E8"/>
      </a:lt2>
      <a:accent1>
        <a:srgbClr val="1C5394"/>
      </a:accent1>
      <a:accent2>
        <a:srgbClr val="75AD40"/>
      </a:accent2>
      <a:accent3>
        <a:srgbClr val="009EE0"/>
      </a:accent3>
      <a:accent4>
        <a:srgbClr val="981A32"/>
      </a:accent4>
      <a:accent5>
        <a:srgbClr val="FABA00"/>
      </a:accent5>
      <a:accent6>
        <a:srgbClr val="EB6909"/>
      </a:accent6>
      <a:hlink>
        <a:srgbClr val="005096"/>
      </a:hlink>
      <a:folHlink>
        <a:srgbClr val="55AA28"/>
      </a:folHlink>
    </a:clrScheme>
    <a:fontScheme name="SWM_font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BA515A7BAE2A43BBCEEFC8DB246324" ma:contentTypeVersion="15" ma:contentTypeDescription="Create a new document." ma:contentTypeScope="" ma:versionID="39e442cfa5e5558afc218e08600e22b0">
  <xsd:schema xmlns:xsd="http://www.w3.org/2001/XMLSchema" xmlns:xs="http://www.w3.org/2001/XMLSchema" xmlns:p="http://schemas.microsoft.com/office/2006/metadata/properties" xmlns:ns2="57fe772f-00cf-4dad-b0cb-913608da9119" xmlns:ns3="c5f555a3-b848-4bea-9c8d-34a4da0e4343" targetNamespace="http://schemas.microsoft.com/office/2006/metadata/properties" ma:root="true" ma:fieldsID="f7b907b57351f06c171a175add3acdcc" ns2:_="" ns3:_="">
    <xsd:import namespace="57fe772f-00cf-4dad-b0cb-913608da9119"/>
    <xsd:import namespace="c5f555a3-b848-4bea-9c8d-34a4da0e434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7fe772f-00cf-4dad-b0cb-913608da911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e864938-2603-473d-8bcd-f12a868843d4"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f555a3-b848-4bea-9c8d-34a4da0e434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8afdac5b-07eb-4f5e-9c79-778fcf53685d}" ma:internalName="TaxCatchAll" ma:showField="CatchAllData" ma:web="c5f555a3-b848-4bea-9c8d-34a4da0e4343">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7fe772f-00cf-4dad-b0cb-913608da9119">
      <Terms xmlns="http://schemas.microsoft.com/office/infopath/2007/PartnerControls"/>
    </lcf76f155ced4ddcb4097134ff3c332f>
    <TaxCatchAll xmlns="c5f555a3-b848-4bea-9c8d-34a4da0e4343" xsi:nil="true"/>
  </documentManagement>
</p:properties>
</file>

<file path=customXml/itemProps1.xml><?xml version="1.0" encoding="utf-8"?>
<ds:datastoreItem xmlns:ds="http://schemas.openxmlformats.org/officeDocument/2006/customXml" ds:itemID="{CFBEFC84-77D3-415A-86A8-1E8C7671E241}"/>
</file>

<file path=customXml/itemProps2.xml><?xml version="1.0" encoding="utf-8"?>
<ds:datastoreItem xmlns:ds="http://schemas.openxmlformats.org/officeDocument/2006/customXml" ds:itemID="{702C645D-8AD0-4D50-B3E0-77600A33AD26}">
  <ds:schemaRefs>
    <ds:schemaRef ds:uri="http://schemas.microsoft.com/sharepoint/v3/contenttype/forms"/>
  </ds:schemaRefs>
</ds:datastoreItem>
</file>

<file path=customXml/itemProps3.xml><?xml version="1.0" encoding="utf-8"?>
<ds:datastoreItem xmlns:ds="http://schemas.openxmlformats.org/officeDocument/2006/customXml" ds:itemID="{C25E46CD-F2F7-4498-9196-16890C64DAB4}">
  <ds:schemaRefs>
    <ds:schemaRef ds:uri="http://schemas.microsoft.com/office/infopath/2007/PartnerControls"/>
    <ds:schemaRef ds:uri="http://purl.org/dc/terms/"/>
    <ds:schemaRef ds:uri="2b6bd616-f277-4c3a-9a35-791030e88bc4"/>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592</Words>
  <Application>Microsoft Office PowerPoint</Application>
  <PresentationFormat>Breitbild</PresentationFormat>
  <Paragraphs>207</Paragraphs>
  <Slides>10</Slides>
  <Notes>7</Notes>
  <HiddenSlides>0</HiddenSlides>
  <MMClips>0</MMClips>
  <ScaleCrop>false</ScaleCrop>
  <HeadingPairs>
    <vt:vector size="8" baseType="variant">
      <vt:variant>
        <vt:lpstr>Verwendete Schriftarten</vt:lpstr>
      </vt:variant>
      <vt:variant>
        <vt:i4>3</vt:i4>
      </vt:variant>
      <vt:variant>
        <vt:lpstr>Design</vt:lpstr>
      </vt:variant>
      <vt:variant>
        <vt:i4>3</vt:i4>
      </vt:variant>
      <vt:variant>
        <vt:lpstr>Eingebettete OLE-Server</vt:lpstr>
      </vt:variant>
      <vt:variant>
        <vt:i4>1</vt:i4>
      </vt:variant>
      <vt:variant>
        <vt:lpstr>Folientitel</vt:lpstr>
      </vt:variant>
      <vt:variant>
        <vt:i4>10</vt:i4>
      </vt:variant>
    </vt:vector>
  </HeadingPairs>
  <TitlesOfParts>
    <vt:vector size="17" baseType="lpstr">
      <vt:lpstr>Arial</vt:lpstr>
      <vt:lpstr>Calibri</vt:lpstr>
      <vt:lpstr>Wingdings 3</vt:lpstr>
      <vt:lpstr>SWM_Folienmaster_16_9</vt:lpstr>
      <vt:lpstr>1_SWM_Folienmaster_16_9</vt:lpstr>
      <vt:lpstr>3_SWM_Folienmaster_16_9</vt:lpstr>
      <vt:lpstr>think-cell Folie</vt:lpstr>
      <vt:lpstr>Heat transition and the role of geothermal energy</vt:lpstr>
      <vt:lpstr>Our services keep Munich running around the clock.</vt:lpstr>
      <vt:lpstr>Geological Situation</vt:lpstr>
      <vt:lpstr>Current Geothermal plants </vt:lpstr>
      <vt:lpstr>Geothermal power plants</vt:lpstr>
      <vt:lpstr>District heating will become increasingly climate-friendly between now and 2045</vt:lpstr>
      <vt:lpstr>Planned measures in the district heating transformation plan</vt:lpstr>
      <vt:lpstr>Municipal heat planning</vt:lpstr>
      <vt:lpstr>District heating and decentralised solutions complement each other well</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bauungsplanverfahren Heuweg</dc:title>
  <dc:creator>Schmidt.Christoph EE-GE-SG</dc:creator>
  <cp:lastModifiedBy>Zeilbeck.Severin GR</cp:lastModifiedBy>
  <cp:revision>1</cp:revision>
  <dcterms:created xsi:type="dcterms:W3CDTF">2023-10-26T11:32:15Z</dcterms:created>
  <dcterms:modified xsi:type="dcterms:W3CDTF">2025-03-19T15: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BA515A7BAE2A43BBCEEFC8DB246324</vt:lpwstr>
  </property>
  <property fmtid="{D5CDD505-2E9C-101B-9397-08002B2CF9AE}" pid="3" name="MediaServiceImageTags">
    <vt:lpwstr/>
  </property>
  <property fmtid="{D5CDD505-2E9C-101B-9397-08002B2CF9AE}" pid="4" name="ClassificationContentMarkingFooterLocations">
    <vt:lpwstr>SWM_Folienmaster:43\SWM_Folienmaster_16_9:13</vt:lpwstr>
  </property>
  <property fmtid="{D5CDD505-2E9C-101B-9397-08002B2CF9AE}" pid="5" name="ClassificationContentMarkingFooterText">
    <vt:lpwstr>VERTRAULICH</vt:lpwstr>
  </property>
  <property fmtid="{D5CDD505-2E9C-101B-9397-08002B2CF9AE}" pid="6" name="ClassificationContentMarkingHeaderLocations">
    <vt:lpwstr>SWM_Folienmaster:42\SWM_Folienmaster_16_9:9</vt:lpwstr>
  </property>
  <property fmtid="{D5CDD505-2E9C-101B-9397-08002B2CF9AE}" pid="7" name="ClassificationContentMarkingHeaderText">
    <vt:lpwstr>VERTRAULICH</vt:lpwstr>
  </property>
  <property fmtid="{D5CDD505-2E9C-101B-9397-08002B2CF9AE}" pid="8" name="MSIP_Label_fac470c7-3dc4-452a-a2d2-43f3856c8869_Enabled">
    <vt:lpwstr>true</vt:lpwstr>
  </property>
  <property fmtid="{D5CDD505-2E9C-101B-9397-08002B2CF9AE}" pid="9" name="MSIP_Label_fac470c7-3dc4-452a-a2d2-43f3856c8869_SetDate">
    <vt:lpwstr>2024-04-22T14:37:29Z</vt:lpwstr>
  </property>
  <property fmtid="{D5CDD505-2E9C-101B-9397-08002B2CF9AE}" pid="10" name="MSIP_Label_fac470c7-3dc4-452a-a2d2-43f3856c8869_Method">
    <vt:lpwstr>Privileged</vt:lpwstr>
  </property>
  <property fmtid="{D5CDD505-2E9C-101B-9397-08002B2CF9AE}" pid="11" name="MSIP_Label_fac470c7-3dc4-452a-a2d2-43f3856c8869_Name">
    <vt:lpwstr>SWM INTERN</vt:lpwstr>
  </property>
  <property fmtid="{D5CDD505-2E9C-101B-9397-08002B2CF9AE}" pid="12" name="MSIP_Label_fac470c7-3dc4-452a-a2d2-43f3856c8869_SiteId">
    <vt:lpwstr>a4f89343-eb5e-47ab-8838-f98d0a9c1314</vt:lpwstr>
  </property>
  <property fmtid="{D5CDD505-2E9C-101B-9397-08002B2CF9AE}" pid="13" name="MSIP_Label_fac470c7-3dc4-452a-a2d2-43f3856c8869_ActionId">
    <vt:lpwstr>6c77c25a-dd0c-4957-9e6f-3e991595b30a</vt:lpwstr>
  </property>
  <property fmtid="{D5CDD505-2E9C-101B-9397-08002B2CF9AE}" pid="14" name="MSIP_Label_fac470c7-3dc4-452a-a2d2-43f3856c8869_ContentBits">
    <vt:lpwstr>0</vt:lpwstr>
  </property>
</Properties>
</file>